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4" r:id="rId4"/>
  </p:sldMasterIdLst>
  <p:notesMasterIdLst>
    <p:notesMasterId r:id="rId12"/>
  </p:notesMasterIdLst>
  <p:sldIdLst>
    <p:sldId id="2134805458" r:id="rId5"/>
    <p:sldId id="3085" r:id="rId6"/>
    <p:sldId id="3030" r:id="rId7"/>
    <p:sldId id="2134805460" r:id="rId8"/>
    <p:sldId id="2134805459" r:id="rId9"/>
    <p:sldId id="3086" r:id="rId10"/>
    <p:sldId id="3082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98A0DB4-02F8-4249-8770-A4B86C3D3E72}">
          <p14:sldIdLst>
            <p14:sldId id="2134805458"/>
            <p14:sldId id="3085"/>
            <p14:sldId id="3030"/>
            <p14:sldId id="2134805460"/>
            <p14:sldId id="2134805459"/>
            <p14:sldId id="3086"/>
            <p14:sldId id="3082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80"/>
    <a:srgbClr val="4B4B4B"/>
    <a:srgbClr val="F3F2F1"/>
    <a:srgbClr val="737373"/>
    <a:srgbClr val="B10034"/>
    <a:srgbClr val="2D89CC"/>
    <a:srgbClr val="F18700"/>
    <a:srgbClr val="009260"/>
    <a:srgbClr val="5F5F5F"/>
    <a:srgbClr val="006D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CB96B6-374F-6A90-DE5D-1FE8786A806E}" v="271" dt="2023-07-11T11:28:49.065"/>
    <p1510:client id="{1DF19BE0-71F3-44BB-B1DE-0A750F8F3B1B}" v="22" dt="2023-07-03T08:41:39.943"/>
    <p1510:client id="{B7389622-570D-2E73-BA8E-E3A6CB2556C3}" v="3" dt="2023-07-03T07:31:51.533"/>
    <p1510:client id="{E2249FD2-83B0-5C58-FB0B-AF2D73D10962}" v="1" dt="2023-08-22T13:31:23.677"/>
    <p1510:client id="{F7B9441A-8797-BCFA-C3AB-58AF8CABB829}" v="48" dt="2023-07-11T12:28:03.3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-18" y="318"/>
      </p:cViewPr>
      <p:guideLst>
        <p:guide pos="3840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rgbClr val="0040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398-45F1-B3C3-53EB4CD4E830}"/>
              </c:ext>
            </c:extLst>
          </c:dPt>
          <c:dPt>
            <c:idx val="1"/>
            <c:bubble3D val="0"/>
            <c:spPr>
              <a:solidFill>
                <a:srgbClr val="D9D9D9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398-45F1-B3C3-53EB4CD4E830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98-45F1-B3C3-53EB4CD4E8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E1-45B4-B92C-334A5532C231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E1-45B4-B92C-334A5532C231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E1-45B4-B92C-334A5532C2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rgbClr val="0040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435-4E06-A5F5-5554F3C9691C}"/>
              </c:ext>
            </c:extLst>
          </c:dPt>
          <c:dPt>
            <c:idx val="1"/>
            <c:bubble3D val="0"/>
            <c:spPr>
              <a:solidFill>
                <a:srgbClr val="D9D9D9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435-4E06-A5F5-5554F3C9691C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35-4E06-A5F5-5554F3C96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rgbClr val="0040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451-44AD-8E92-2A17627C12D1}"/>
              </c:ext>
            </c:extLst>
          </c:dPt>
          <c:dPt>
            <c:idx val="1"/>
            <c:bubble3D val="0"/>
            <c:spPr>
              <a:solidFill>
                <a:srgbClr val="D9D9D9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451-44AD-8E92-2A17627C12D1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51-44AD-8E92-2A17627C12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97F-4F81-BDF1-C091FBCAC308}"/>
              </c:ext>
            </c:extLst>
          </c:dPt>
          <c:dPt>
            <c:idx val="1"/>
            <c:bubble3D val="0"/>
            <c:spPr>
              <a:solidFill>
                <a:srgbClr val="009D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7F-4F81-BDF1-C091FBCAC308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97F-4F81-BDF1-C091FBCAC3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8A6-4825-BE48-3019DEEC9861}"/>
              </c:ext>
            </c:extLst>
          </c:dPt>
          <c:dPt>
            <c:idx val="1"/>
            <c:bubble3D val="0"/>
            <c:spPr>
              <a:solidFill>
                <a:srgbClr val="009D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8A6-4825-BE48-3019DEEC9861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A6-4825-BE48-3019DEEC98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E17-4B53-8A26-F727180CC91F}"/>
              </c:ext>
            </c:extLst>
          </c:dPt>
          <c:dPt>
            <c:idx val="1"/>
            <c:bubble3D val="0"/>
            <c:spPr>
              <a:solidFill>
                <a:srgbClr val="009D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E17-4B53-8A26-F727180CC91F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17-4B53-8A26-F727180CC9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334-41C6-8CE1-5A610CB47508}"/>
              </c:ext>
            </c:extLst>
          </c:dPt>
          <c:dPt>
            <c:idx val="1"/>
            <c:bubble3D val="0"/>
            <c:spPr>
              <a:solidFill>
                <a:srgbClr val="009D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334-41C6-8CE1-5A610CB47508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34-41C6-8CE1-5A610CB475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886-4199-84E5-0F86D5B229CE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86-4199-84E5-0F86D5B229CE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886-4199-84E5-0F86D5B22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DC8-448F-8803-E95759AEF854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DC8-448F-8803-E95759AEF854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C8-448F-8803-E95759AEF8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531E23-3671-4EB1-A929-4F2D23AD3768}" type="datetimeFigureOut">
              <a:rPr lang="en-US" smtClean="0"/>
              <a:t>3/14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235E42-08C2-4B51-8226-949D8765D5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11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irtschaftsinformatik.fraunhofer.de/" TargetMode="External"/><Relationship Id="rId2" Type="http://schemas.openxmlformats.org/officeDocument/2006/relationships/hyperlink" Target="http://www.fim-rc.de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gif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eliebige*r Vortragende*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Beliebige*r Vortragende*r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600" b="0">
                <a:solidFill>
                  <a:srgbClr val="4B4B4B"/>
                </a:solidFill>
              </a:rPr>
              <a:t>ABBA – AI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Business I Business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AI </a:t>
            </a:r>
          </a:p>
          <a:p>
            <a:pPr lvl="0"/>
            <a:endParaRPr lang="en-US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38">
            <a:extLst>
              <a:ext uri="{FF2B5EF4-FFF2-40B4-BE49-F238E27FC236}">
                <a16:creationId xmlns:a16="http://schemas.microsoft.com/office/drawing/2014/main" id="{86DF2652-0633-451E-ACFC-CBD7DD368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8555" y="3045600"/>
            <a:ext cx="7092583" cy="27535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err="1"/>
              <a:t>Titel</a:t>
            </a:r>
            <a:r>
              <a:rPr lang="en-US"/>
              <a:t> und Name der/des </a:t>
            </a:r>
            <a:r>
              <a:rPr lang="en-US" err="1"/>
              <a:t>Vortragenden</a:t>
            </a:r>
            <a:endParaRPr lang="en-US"/>
          </a:p>
          <a:p>
            <a:pPr lvl="0"/>
            <a:endParaRPr lang="en-US"/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>
              <a:solidFill>
                <a:srgbClr val="4B4B4B"/>
              </a:solidFill>
            </a:endParaRP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A2D0A4-929C-4059-BBE7-4297BFE74BDA}"/>
              </a:ext>
            </a:extLst>
          </p:cNvPr>
          <p:cNvSpPr txBox="1"/>
          <p:nvPr userDrawn="1"/>
        </p:nvSpPr>
        <p:spPr>
          <a:xfrm>
            <a:off x="4548554" y="3408288"/>
            <a:ext cx="7106424" cy="23604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indent="0" algn="l">
              <a:buNone/>
            </a:pPr>
            <a:endParaRPr lang="de-DE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DB59ADC-D240-4941-9DD5-203A92C371F5}"/>
              </a:ext>
            </a:extLst>
          </p:cNvPr>
          <p:cNvSpPr txBox="1"/>
          <p:nvPr userDrawn="1"/>
        </p:nvSpPr>
        <p:spPr>
          <a:xfrm>
            <a:off x="4548554" y="608400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lvl="0"/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6" name="Grafik 5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F1BC8438-F46A-49DE-9E12-6433272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46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0CE03613-0A7A-4C3D-A37C-DCA350798A44}" type="datetime1">
              <a:rPr lang="de-DE" smtClean="0"/>
              <a:t>14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1" y="1449388"/>
            <a:ext cx="11088000" cy="4427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Fußzeilenplatzhalter 12">
            <a:extLst>
              <a:ext uri="{FF2B5EF4-FFF2-40B4-BE49-F238E27FC236}">
                <a16:creationId xmlns:a16="http://schemas.microsoft.com/office/drawing/2014/main" id="{783AA3FD-B3F6-4BCC-A437-23D9555B64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lang="en-US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6422D8EC-C3CA-413D-B435-E23AABA2009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2000" y="6201000"/>
            <a:ext cx="11088000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91539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Inhalt_Inhal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0B5529-C60C-4884-841B-5892980885C3}" type="datetime1">
              <a:rPr lang="de-DE" smtClean="0"/>
              <a:t>14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8"/>
            <a:ext cx="5315369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D8ACB48-ECD1-4E0E-9176-B1015FF608C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2566" y="1449388"/>
            <a:ext cx="5316297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F58655A5-70C7-4367-AAA1-B83A6CE9116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2800" y="6201000"/>
            <a:ext cx="5315369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7D76AA35-8DAB-4C1E-90FE-82769E26E2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FC4F1D9E-2891-459E-A138-47D4E6D1BC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96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Inhalt_Bild_2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A0E13-BE99-4218-A2A6-DA25F35DCFC4}" type="datetime1">
              <a:rPr lang="de-DE" smtClean="0"/>
              <a:t>14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6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2509" y="1449386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F9A99E4D-0B5F-4760-9338-D404BD1D183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82509" y="6201000"/>
            <a:ext cx="3456354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A651BD4C-A6A4-4605-B101-327106CF2B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71784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876FF18B-9FBA-49AD-932B-0F51BF1E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C8C8C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2563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00F50-A7B5-4450-860F-59B6F72F6C5D}" type="datetime1">
              <a:rPr lang="de-DE" smtClean="0"/>
              <a:t>14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11088000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F8754C95-D129-476E-91CD-21BBFE867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F2DD5413-F8F9-4B27-8EAE-532F4873E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0801" y="4961418"/>
            <a:ext cx="110880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7874AAE9-7808-455B-867F-10BC79D57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069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Zweispaltig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3476A-38FD-4A05-885F-05B75CAEC65F}" type="datetime1">
              <a:rPr lang="de-DE" smtClean="0"/>
              <a:t>14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5316412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2DF239D-7090-482E-8513-8A5EA2BAF96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321184" y="1449389"/>
            <a:ext cx="5317616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0A423CE-1ED4-49EE-B700-5F9E1A1561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62E0870A-1650-47DB-9E5F-C4C693A08F7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3431" y="4960917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57812905-85A4-4D41-B594-9DBE67D7222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0863" y="4960916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7" name="Fußzeilenplatzhalter 12">
            <a:extLst>
              <a:ext uri="{FF2B5EF4-FFF2-40B4-BE49-F238E27FC236}">
                <a16:creationId xmlns:a16="http://schemas.microsoft.com/office/drawing/2014/main" id="{C5024CEA-7402-4E7E-B545-CDDEDE842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4750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Inhal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Bild_Inhalt_1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D077-FA96-4A54-8EF8-A3BB2C969354}" type="datetime1">
              <a:rPr lang="de-DE" smtClean="0"/>
              <a:t>14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63589" y="1449389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00" y="1449389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7471E5C3-2D64-419A-8EE2-8313EF24F23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63590" y="6201000"/>
            <a:ext cx="7178400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B1E808DA-B814-4D3E-89EC-C2AD849F7B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3456354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A9AE359E-EB56-401E-AEDC-551F51CD85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46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D4110-BE23-4BA1-9D17-C4601F20C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Nur Titel</a:t>
            </a:r>
            <a:br>
              <a:rPr lang="de-DE"/>
            </a:br>
            <a:r>
              <a:rPr lang="de-DE"/>
              <a:t>Zur freien Gestaltun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EB47C2-3C17-42A1-979F-ADB13DCEA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262C-673D-40D1-B1C4-10027E2DBFAA}" type="datetime1">
              <a:rPr lang="de-DE" smtClean="0"/>
              <a:t>14.03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0547F-3831-4DE1-A9F6-CC8691685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592323-0F20-49E2-B449-ADBAA6030981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ußzeilenplatzhalter 12">
            <a:extLst>
              <a:ext uri="{FF2B5EF4-FFF2-40B4-BE49-F238E27FC236}">
                <a16:creationId xmlns:a16="http://schemas.microsoft.com/office/drawing/2014/main" id="{06596C1B-AB91-43EC-98A6-4016B7FB41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7405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57063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68000" tIns="108000" rIns="432000" bIns="108000" anchor="ctr"/>
          <a:lstStyle>
            <a:lvl1pPr marL="0" indent="0" algn="l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E7330922-7F51-4C91-8DC7-07C149FD3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457063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713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" y="5595038"/>
            <a:ext cx="6095999" cy="606724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0176A9EC-3AD0-4E01-8563-18A9AB2C1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95038"/>
            <a:ext cx="232507" cy="606724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437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3" name="Group 59">
            <a:extLst>
              <a:ext uri="{FF2B5EF4-FFF2-40B4-BE49-F238E27FC236}">
                <a16:creationId xmlns:a16="http://schemas.microsoft.com/office/drawing/2014/main" id="{8B16DD28-3358-41ED-A6FD-FD0CE2490E89}"/>
              </a:ext>
            </a:extLst>
          </p:cNvPr>
          <p:cNvGrpSpPr/>
          <p:nvPr userDrawn="1"/>
        </p:nvGrpSpPr>
        <p:grpSpPr>
          <a:xfrm>
            <a:off x="873883" y="2341625"/>
            <a:ext cx="2839915" cy="2174750"/>
            <a:chOff x="310166" y="5375508"/>
            <a:chExt cx="491206" cy="410670"/>
          </a:xfrm>
          <a:solidFill>
            <a:schemeClr val="bg1"/>
          </a:solidFill>
        </p:grpSpPr>
        <p:sp>
          <p:nvSpPr>
            <p:cNvPr id="4" name="Freeform 166">
              <a:extLst>
                <a:ext uri="{FF2B5EF4-FFF2-40B4-BE49-F238E27FC236}">
                  <a16:creationId xmlns:a16="http://schemas.microsoft.com/office/drawing/2014/main" id="{888FE86F-8894-4EA7-A86C-5B552906F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52" y="5375508"/>
              <a:ext cx="23812" cy="69850"/>
            </a:xfrm>
            <a:custGeom>
              <a:avLst/>
              <a:gdLst>
                <a:gd name="T0" fmla="*/ 8 w 15"/>
                <a:gd name="T1" fmla="*/ 44 h 44"/>
                <a:gd name="T2" fmla="*/ 8 w 15"/>
                <a:gd name="T3" fmla="*/ 44 h 44"/>
                <a:gd name="T4" fmla="*/ 11 w 15"/>
                <a:gd name="T5" fmla="*/ 44 h 44"/>
                <a:gd name="T6" fmla="*/ 13 w 15"/>
                <a:gd name="T7" fmla="*/ 42 h 44"/>
                <a:gd name="T8" fmla="*/ 15 w 15"/>
                <a:gd name="T9" fmla="*/ 40 h 44"/>
                <a:gd name="T10" fmla="*/ 15 w 15"/>
                <a:gd name="T11" fmla="*/ 37 h 44"/>
                <a:gd name="T12" fmla="*/ 15 w 15"/>
                <a:gd name="T13" fmla="*/ 7 h 44"/>
                <a:gd name="T14" fmla="*/ 15 w 15"/>
                <a:gd name="T15" fmla="*/ 7 h 44"/>
                <a:gd name="T16" fmla="*/ 15 w 15"/>
                <a:gd name="T17" fmla="*/ 5 h 44"/>
                <a:gd name="T18" fmla="*/ 13 w 15"/>
                <a:gd name="T19" fmla="*/ 4 h 44"/>
                <a:gd name="T20" fmla="*/ 11 w 15"/>
                <a:gd name="T21" fmla="*/ 2 h 44"/>
                <a:gd name="T22" fmla="*/ 8 w 15"/>
                <a:gd name="T23" fmla="*/ 0 h 44"/>
                <a:gd name="T24" fmla="*/ 8 w 15"/>
                <a:gd name="T25" fmla="*/ 0 h 44"/>
                <a:gd name="T26" fmla="*/ 4 w 15"/>
                <a:gd name="T27" fmla="*/ 2 h 44"/>
                <a:gd name="T28" fmla="*/ 2 w 15"/>
                <a:gd name="T29" fmla="*/ 4 h 44"/>
                <a:gd name="T30" fmla="*/ 0 w 15"/>
                <a:gd name="T31" fmla="*/ 5 h 44"/>
                <a:gd name="T32" fmla="*/ 0 w 15"/>
                <a:gd name="T33" fmla="*/ 7 h 44"/>
                <a:gd name="T34" fmla="*/ 0 w 15"/>
                <a:gd name="T35" fmla="*/ 37 h 44"/>
                <a:gd name="T36" fmla="*/ 0 w 15"/>
                <a:gd name="T37" fmla="*/ 37 h 44"/>
                <a:gd name="T38" fmla="*/ 0 w 15"/>
                <a:gd name="T39" fmla="*/ 40 h 44"/>
                <a:gd name="T40" fmla="*/ 2 w 15"/>
                <a:gd name="T41" fmla="*/ 42 h 44"/>
                <a:gd name="T42" fmla="*/ 4 w 15"/>
                <a:gd name="T43" fmla="*/ 44 h 44"/>
                <a:gd name="T44" fmla="*/ 8 w 15"/>
                <a:gd name="T45" fmla="*/ 44 h 44"/>
                <a:gd name="T46" fmla="*/ 8 w 15"/>
                <a:gd name="T4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" h="44">
                  <a:moveTo>
                    <a:pt x="8" y="44"/>
                  </a:moveTo>
                  <a:lnTo>
                    <a:pt x="8" y="44"/>
                  </a:lnTo>
                  <a:lnTo>
                    <a:pt x="11" y="44"/>
                  </a:lnTo>
                  <a:lnTo>
                    <a:pt x="13" y="42"/>
                  </a:lnTo>
                  <a:lnTo>
                    <a:pt x="15" y="40"/>
                  </a:lnTo>
                  <a:lnTo>
                    <a:pt x="15" y="3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4"/>
                  </a:lnTo>
                  <a:lnTo>
                    <a:pt x="11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2" y="42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5" name="Freeform 167">
              <a:extLst>
                <a:ext uri="{FF2B5EF4-FFF2-40B4-BE49-F238E27FC236}">
                  <a16:creationId xmlns:a16="http://schemas.microsoft.com/office/drawing/2014/main" id="{EE2EC14B-8A22-4353-ABAB-0571ACA5E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66" y="5551720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5 w 44"/>
                <a:gd name="T7" fmla="*/ 0 h 14"/>
                <a:gd name="T8" fmla="*/ 3 w 44"/>
                <a:gd name="T9" fmla="*/ 1 h 14"/>
                <a:gd name="T10" fmla="*/ 2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2 w 44"/>
                <a:gd name="T17" fmla="*/ 10 h 14"/>
                <a:gd name="T18" fmla="*/ 3 w 44"/>
                <a:gd name="T19" fmla="*/ 12 h 14"/>
                <a:gd name="T20" fmla="*/ 5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40 w 44"/>
                <a:gd name="T29" fmla="*/ 14 h 14"/>
                <a:gd name="T30" fmla="*/ 42 w 44"/>
                <a:gd name="T31" fmla="*/ 12 h 14"/>
                <a:gd name="T32" fmla="*/ 44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4 w 44"/>
                <a:gd name="T39" fmla="*/ 3 h 14"/>
                <a:gd name="T40" fmla="*/ 42 w 44"/>
                <a:gd name="T41" fmla="*/ 1 h 14"/>
                <a:gd name="T42" fmla="*/ 40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3"/>
                  </a:lnTo>
                  <a:lnTo>
                    <a:pt x="42" y="1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" name="Freeform 168">
              <a:extLst>
                <a:ext uri="{FF2B5EF4-FFF2-40B4-BE49-F238E27FC236}">
                  <a16:creationId xmlns:a16="http://schemas.microsoft.com/office/drawing/2014/main" id="{95E13893-5155-4BDC-B790-993416A56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2" y="5423133"/>
              <a:ext cx="55562" cy="55562"/>
            </a:xfrm>
            <a:custGeom>
              <a:avLst/>
              <a:gdLst>
                <a:gd name="T0" fmla="*/ 33 w 35"/>
                <a:gd name="T1" fmla="*/ 23 h 35"/>
                <a:gd name="T2" fmla="*/ 12 w 35"/>
                <a:gd name="T3" fmla="*/ 2 h 35"/>
                <a:gd name="T4" fmla="*/ 12 w 35"/>
                <a:gd name="T5" fmla="*/ 2 h 35"/>
                <a:gd name="T6" fmla="*/ 10 w 35"/>
                <a:gd name="T7" fmla="*/ 0 h 35"/>
                <a:gd name="T8" fmla="*/ 7 w 35"/>
                <a:gd name="T9" fmla="*/ 0 h 35"/>
                <a:gd name="T10" fmla="*/ 5 w 35"/>
                <a:gd name="T11" fmla="*/ 0 h 35"/>
                <a:gd name="T12" fmla="*/ 1 w 35"/>
                <a:gd name="T13" fmla="*/ 2 h 35"/>
                <a:gd name="T14" fmla="*/ 1 w 35"/>
                <a:gd name="T15" fmla="*/ 2 h 35"/>
                <a:gd name="T16" fmla="*/ 0 w 35"/>
                <a:gd name="T17" fmla="*/ 5 h 35"/>
                <a:gd name="T18" fmla="*/ 0 w 35"/>
                <a:gd name="T19" fmla="*/ 7 h 35"/>
                <a:gd name="T20" fmla="*/ 0 w 35"/>
                <a:gd name="T21" fmla="*/ 10 h 35"/>
                <a:gd name="T22" fmla="*/ 1 w 35"/>
                <a:gd name="T23" fmla="*/ 12 h 35"/>
                <a:gd name="T24" fmla="*/ 22 w 35"/>
                <a:gd name="T25" fmla="*/ 33 h 35"/>
                <a:gd name="T26" fmla="*/ 22 w 35"/>
                <a:gd name="T27" fmla="*/ 33 h 35"/>
                <a:gd name="T28" fmla="*/ 24 w 35"/>
                <a:gd name="T29" fmla="*/ 35 h 35"/>
                <a:gd name="T30" fmla="*/ 28 w 35"/>
                <a:gd name="T31" fmla="*/ 35 h 35"/>
                <a:gd name="T32" fmla="*/ 28 w 35"/>
                <a:gd name="T33" fmla="*/ 35 h 35"/>
                <a:gd name="T34" fmla="*/ 31 w 35"/>
                <a:gd name="T35" fmla="*/ 35 h 35"/>
                <a:gd name="T36" fmla="*/ 33 w 35"/>
                <a:gd name="T37" fmla="*/ 33 h 35"/>
                <a:gd name="T38" fmla="*/ 33 w 35"/>
                <a:gd name="T39" fmla="*/ 33 h 35"/>
                <a:gd name="T40" fmla="*/ 35 w 35"/>
                <a:gd name="T41" fmla="*/ 32 h 35"/>
                <a:gd name="T42" fmla="*/ 35 w 35"/>
                <a:gd name="T43" fmla="*/ 28 h 35"/>
                <a:gd name="T44" fmla="*/ 35 w 35"/>
                <a:gd name="T45" fmla="*/ 24 h 35"/>
                <a:gd name="T46" fmla="*/ 33 w 35"/>
                <a:gd name="T47" fmla="*/ 23 h 35"/>
                <a:gd name="T48" fmla="*/ 33 w 35"/>
                <a:gd name="T49" fmla="*/ 2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3" y="23"/>
                  </a:moveTo>
                  <a:lnTo>
                    <a:pt x="12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1" y="3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5" y="32"/>
                  </a:lnTo>
                  <a:lnTo>
                    <a:pt x="35" y="28"/>
                  </a:lnTo>
                  <a:lnTo>
                    <a:pt x="35" y="24"/>
                  </a:lnTo>
                  <a:lnTo>
                    <a:pt x="33" y="23"/>
                  </a:lnTo>
                  <a:lnTo>
                    <a:pt x="33" y="23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" name="Freeform 169">
              <a:extLst>
                <a:ext uri="{FF2B5EF4-FFF2-40B4-BE49-F238E27FC236}">
                  <a16:creationId xmlns:a16="http://schemas.microsoft.com/office/drawing/2014/main" id="{A41FE90B-7032-425B-AF82-261114990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02" y="5423134"/>
              <a:ext cx="55562" cy="55562"/>
            </a:xfrm>
            <a:custGeom>
              <a:avLst/>
              <a:gdLst>
                <a:gd name="T0" fmla="*/ 34 w 35"/>
                <a:gd name="T1" fmla="*/ 2 h 35"/>
                <a:gd name="T2" fmla="*/ 34 w 35"/>
                <a:gd name="T3" fmla="*/ 2 h 35"/>
                <a:gd name="T4" fmla="*/ 30 w 35"/>
                <a:gd name="T5" fmla="*/ 0 h 35"/>
                <a:gd name="T6" fmla="*/ 28 w 35"/>
                <a:gd name="T7" fmla="*/ 0 h 35"/>
                <a:gd name="T8" fmla="*/ 25 w 35"/>
                <a:gd name="T9" fmla="*/ 0 h 35"/>
                <a:gd name="T10" fmla="*/ 23 w 35"/>
                <a:gd name="T11" fmla="*/ 2 h 35"/>
                <a:gd name="T12" fmla="*/ 2 w 35"/>
                <a:gd name="T13" fmla="*/ 23 h 35"/>
                <a:gd name="T14" fmla="*/ 2 w 35"/>
                <a:gd name="T15" fmla="*/ 23 h 35"/>
                <a:gd name="T16" fmla="*/ 0 w 35"/>
                <a:gd name="T17" fmla="*/ 24 h 35"/>
                <a:gd name="T18" fmla="*/ 0 w 35"/>
                <a:gd name="T19" fmla="*/ 28 h 35"/>
                <a:gd name="T20" fmla="*/ 0 w 35"/>
                <a:gd name="T21" fmla="*/ 32 h 35"/>
                <a:gd name="T22" fmla="*/ 2 w 35"/>
                <a:gd name="T23" fmla="*/ 33 h 35"/>
                <a:gd name="T24" fmla="*/ 2 w 35"/>
                <a:gd name="T25" fmla="*/ 33 h 35"/>
                <a:gd name="T26" fmla="*/ 4 w 35"/>
                <a:gd name="T27" fmla="*/ 35 h 35"/>
                <a:gd name="T28" fmla="*/ 7 w 35"/>
                <a:gd name="T29" fmla="*/ 35 h 35"/>
                <a:gd name="T30" fmla="*/ 7 w 35"/>
                <a:gd name="T31" fmla="*/ 35 h 35"/>
                <a:gd name="T32" fmla="*/ 11 w 35"/>
                <a:gd name="T33" fmla="*/ 35 h 35"/>
                <a:gd name="T34" fmla="*/ 13 w 35"/>
                <a:gd name="T35" fmla="*/ 33 h 35"/>
                <a:gd name="T36" fmla="*/ 34 w 35"/>
                <a:gd name="T37" fmla="*/ 12 h 35"/>
                <a:gd name="T38" fmla="*/ 34 w 35"/>
                <a:gd name="T39" fmla="*/ 12 h 35"/>
                <a:gd name="T40" fmla="*/ 35 w 35"/>
                <a:gd name="T41" fmla="*/ 10 h 35"/>
                <a:gd name="T42" fmla="*/ 35 w 35"/>
                <a:gd name="T43" fmla="*/ 7 h 35"/>
                <a:gd name="T44" fmla="*/ 35 w 35"/>
                <a:gd name="T45" fmla="*/ 5 h 35"/>
                <a:gd name="T46" fmla="*/ 34 w 35"/>
                <a:gd name="T47" fmla="*/ 2 h 35"/>
                <a:gd name="T48" fmla="*/ 34 w 35"/>
                <a:gd name="T49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4" y="2"/>
                  </a:move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3" y="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11" y="35"/>
                  </a:lnTo>
                  <a:lnTo>
                    <a:pt x="13" y="3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5" y="10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4" y="2"/>
                  </a:lnTo>
                  <a:lnTo>
                    <a:pt x="34" y="2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8" name="Freeform 170">
              <a:extLst>
                <a:ext uri="{FF2B5EF4-FFF2-40B4-BE49-F238E27FC236}">
                  <a16:creationId xmlns:a16="http://schemas.microsoft.com/office/drawing/2014/main" id="{1930D321-B9AF-479C-B38D-1D602FA22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22" y="5551721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4 w 44"/>
                <a:gd name="T7" fmla="*/ 0 h 14"/>
                <a:gd name="T8" fmla="*/ 2 w 44"/>
                <a:gd name="T9" fmla="*/ 1 h 14"/>
                <a:gd name="T10" fmla="*/ 0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0 w 44"/>
                <a:gd name="T17" fmla="*/ 10 h 14"/>
                <a:gd name="T18" fmla="*/ 2 w 44"/>
                <a:gd name="T19" fmla="*/ 12 h 14"/>
                <a:gd name="T20" fmla="*/ 4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39 w 44"/>
                <a:gd name="T29" fmla="*/ 14 h 14"/>
                <a:gd name="T30" fmla="*/ 41 w 44"/>
                <a:gd name="T31" fmla="*/ 12 h 14"/>
                <a:gd name="T32" fmla="*/ 42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2 w 44"/>
                <a:gd name="T39" fmla="*/ 3 h 14"/>
                <a:gd name="T40" fmla="*/ 41 w 44"/>
                <a:gd name="T41" fmla="*/ 1 h 14"/>
                <a:gd name="T42" fmla="*/ 39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41" y="12"/>
                  </a:lnTo>
                  <a:lnTo>
                    <a:pt x="42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2" y="3"/>
                  </a:lnTo>
                  <a:lnTo>
                    <a:pt x="41" y="1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grpSp>
          <p:nvGrpSpPr>
            <p:cNvPr id="9" name="Group 65">
              <a:extLst>
                <a:ext uri="{FF2B5EF4-FFF2-40B4-BE49-F238E27FC236}">
                  <a16:creationId xmlns:a16="http://schemas.microsoft.com/office/drawing/2014/main" id="{6B972CBD-3EFA-4C09-BFA9-1EF41A4F005B}"/>
                </a:ext>
              </a:extLst>
            </p:cNvPr>
            <p:cNvGrpSpPr/>
            <p:nvPr/>
          </p:nvGrpSpPr>
          <p:grpSpPr>
            <a:xfrm>
              <a:off x="432127" y="5519135"/>
              <a:ext cx="243823" cy="267043"/>
              <a:chOff x="-1358901" y="4653498"/>
              <a:chExt cx="400051" cy="438150"/>
            </a:xfrm>
            <a:grpFill/>
          </p:grpSpPr>
          <p:sp>
            <p:nvSpPr>
              <p:cNvPr id="10" name="Freeform 306">
                <a:extLst>
                  <a:ext uri="{FF2B5EF4-FFF2-40B4-BE49-F238E27FC236}">
                    <a16:creationId xmlns:a16="http://schemas.microsoft.com/office/drawing/2014/main" id="{A05AAB9F-45D8-4EDA-8C45-4296663DA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50938" y="4653498"/>
                <a:ext cx="192088" cy="438150"/>
              </a:xfrm>
              <a:custGeom>
                <a:avLst/>
                <a:gdLst>
                  <a:gd name="T0" fmla="*/ 306 w 714"/>
                  <a:gd name="T1" fmla="*/ 288 h 1632"/>
                  <a:gd name="T2" fmla="*/ 384 w 714"/>
                  <a:gd name="T3" fmla="*/ 240 h 1632"/>
                  <a:gd name="T4" fmla="*/ 339 w 714"/>
                  <a:gd name="T5" fmla="*/ 71 h 1632"/>
                  <a:gd name="T6" fmla="*/ 127 w 714"/>
                  <a:gd name="T7" fmla="*/ 0 h 1632"/>
                  <a:gd name="T8" fmla="*/ 2 w 714"/>
                  <a:gd name="T9" fmla="*/ 12 h 1632"/>
                  <a:gd name="T10" fmla="*/ 2 w 714"/>
                  <a:gd name="T11" fmla="*/ 1536 h 1632"/>
                  <a:gd name="T12" fmla="*/ 0 w 714"/>
                  <a:gd name="T13" fmla="*/ 1541 h 1632"/>
                  <a:gd name="T14" fmla="*/ 0 w 714"/>
                  <a:gd name="T15" fmla="*/ 1542 h 1632"/>
                  <a:gd name="T16" fmla="*/ 129 w 714"/>
                  <a:gd name="T17" fmla="*/ 1632 h 1632"/>
                  <a:gd name="T18" fmla="*/ 359 w 714"/>
                  <a:gd name="T19" fmla="*/ 1536 h 1632"/>
                  <a:gd name="T20" fmla="*/ 162 w 714"/>
                  <a:gd name="T21" fmla="*/ 1348 h 1632"/>
                  <a:gd name="T22" fmla="*/ 213 w 714"/>
                  <a:gd name="T23" fmla="*/ 1343 h 1632"/>
                  <a:gd name="T24" fmla="*/ 406 w 714"/>
                  <a:gd name="T25" fmla="*/ 1503 h 1632"/>
                  <a:gd name="T26" fmla="*/ 645 w 714"/>
                  <a:gd name="T27" fmla="*/ 1240 h 1632"/>
                  <a:gd name="T28" fmla="*/ 536 w 714"/>
                  <a:gd name="T29" fmla="*/ 1108 h 1632"/>
                  <a:gd name="T30" fmla="*/ 483 w 714"/>
                  <a:gd name="T31" fmla="*/ 1084 h 1632"/>
                  <a:gd name="T32" fmla="*/ 487 w 714"/>
                  <a:gd name="T33" fmla="*/ 1082 h 1632"/>
                  <a:gd name="T34" fmla="*/ 256 w 714"/>
                  <a:gd name="T35" fmla="*/ 1038 h 1632"/>
                  <a:gd name="T36" fmla="*/ 212 w 714"/>
                  <a:gd name="T37" fmla="*/ 1091 h 1632"/>
                  <a:gd name="T38" fmla="*/ 163 w 714"/>
                  <a:gd name="T39" fmla="*/ 1078 h 1632"/>
                  <a:gd name="T40" fmla="*/ 236 w 714"/>
                  <a:gd name="T41" fmla="*/ 991 h 1632"/>
                  <a:gd name="T42" fmla="*/ 548 w 714"/>
                  <a:gd name="T43" fmla="*/ 1056 h 1632"/>
                  <a:gd name="T44" fmla="*/ 658 w 714"/>
                  <a:gd name="T45" fmla="*/ 931 h 1632"/>
                  <a:gd name="T46" fmla="*/ 514 w 714"/>
                  <a:gd name="T47" fmla="*/ 409 h 1632"/>
                  <a:gd name="T48" fmla="*/ 306 w 714"/>
                  <a:gd name="T49" fmla="*/ 288 h 1632"/>
                  <a:gd name="T50" fmla="*/ 353 w 714"/>
                  <a:gd name="T51" fmla="*/ 708 h 1632"/>
                  <a:gd name="T52" fmla="*/ 162 w 714"/>
                  <a:gd name="T53" fmla="*/ 419 h 1632"/>
                  <a:gd name="T54" fmla="*/ 213 w 714"/>
                  <a:gd name="T55" fmla="*/ 425 h 1632"/>
                  <a:gd name="T56" fmla="*/ 382 w 714"/>
                  <a:gd name="T57" fmla="*/ 665 h 1632"/>
                  <a:gd name="T58" fmla="*/ 353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306" y="288"/>
                    </a:moveTo>
                    <a:cubicBezTo>
                      <a:pt x="310" y="257"/>
                      <a:pt x="347" y="245"/>
                      <a:pt x="384" y="240"/>
                    </a:cubicBezTo>
                    <a:cubicBezTo>
                      <a:pt x="389" y="167"/>
                      <a:pt x="374" y="110"/>
                      <a:pt x="339" y="71"/>
                    </a:cubicBezTo>
                    <a:cubicBezTo>
                      <a:pt x="287" y="12"/>
                      <a:pt x="195" y="0"/>
                      <a:pt x="127" y="0"/>
                    </a:cubicBezTo>
                    <a:cubicBezTo>
                      <a:pt x="76" y="0"/>
                      <a:pt x="30" y="6"/>
                      <a:pt x="2" y="12"/>
                    </a:cubicBezTo>
                    <a:lnTo>
                      <a:pt x="2" y="1536"/>
                    </a:lnTo>
                    <a:lnTo>
                      <a:pt x="0" y="1541"/>
                    </a:lnTo>
                    <a:cubicBezTo>
                      <a:pt x="0" y="1541"/>
                      <a:pt x="0" y="1541"/>
                      <a:pt x="0" y="1542"/>
                    </a:cubicBezTo>
                    <a:cubicBezTo>
                      <a:pt x="28" y="1602"/>
                      <a:pt x="70" y="1632"/>
                      <a:pt x="129" y="1632"/>
                    </a:cubicBezTo>
                    <a:cubicBezTo>
                      <a:pt x="214" y="1632"/>
                      <a:pt x="311" y="1571"/>
                      <a:pt x="359" y="1536"/>
                    </a:cubicBezTo>
                    <a:cubicBezTo>
                      <a:pt x="294" y="1502"/>
                      <a:pt x="169" y="1427"/>
                      <a:pt x="162" y="1348"/>
                    </a:cubicBezTo>
                    <a:lnTo>
                      <a:pt x="213" y="1343"/>
                    </a:lnTo>
                    <a:cubicBezTo>
                      <a:pt x="218" y="1395"/>
                      <a:pt x="329" y="1466"/>
                      <a:pt x="406" y="1503"/>
                    </a:cubicBezTo>
                    <a:cubicBezTo>
                      <a:pt x="566" y="1408"/>
                      <a:pt x="649" y="1318"/>
                      <a:pt x="645" y="1240"/>
                    </a:cubicBezTo>
                    <a:cubicBezTo>
                      <a:pt x="641" y="1157"/>
                      <a:pt x="537" y="1108"/>
                      <a:pt x="536" y="1108"/>
                    </a:cubicBezTo>
                    <a:lnTo>
                      <a:pt x="483" y="1084"/>
                    </a:lnTo>
                    <a:lnTo>
                      <a:pt x="487" y="1082"/>
                    </a:lnTo>
                    <a:cubicBezTo>
                      <a:pt x="419" y="1051"/>
                      <a:pt x="315" y="1014"/>
                      <a:pt x="256" y="1038"/>
                    </a:cubicBezTo>
                    <a:cubicBezTo>
                      <a:pt x="234" y="1048"/>
                      <a:pt x="220" y="1065"/>
                      <a:pt x="212" y="1091"/>
                    </a:cubicBezTo>
                    <a:lnTo>
                      <a:pt x="163" y="1078"/>
                    </a:lnTo>
                    <a:cubicBezTo>
                      <a:pt x="174" y="1036"/>
                      <a:pt x="199" y="1006"/>
                      <a:pt x="236" y="991"/>
                    </a:cubicBezTo>
                    <a:cubicBezTo>
                      <a:pt x="337" y="950"/>
                      <a:pt x="502" y="1031"/>
                      <a:pt x="548" y="1056"/>
                    </a:cubicBezTo>
                    <a:cubicBezTo>
                      <a:pt x="604" y="1028"/>
                      <a:pt x="641" y="988"/>
                      <a:pt x="658" y="931"/>
                    </a:cubicBezTo>
                    <a:cubicBezTo>
                      <a:pt x="714" y="746"/>
                      <a:pt x="545" y="460"/>
                      <a:pt x="514" y="409"/>
                    </a:cubicBezTo>
                    <a:cubicBezTo>
                      <a:pt x="336" y="354"/>
                      <a:pt x="302" y="322"/>
                      <a:pt x="306" y="288"/>
                    </a:cubicBezTo>
                    <a:close/>
                    <a:moveTo>
                      <a:pt x="353" y="708"/>
                    </a:moveTo>
                    <a:cubicBezTo>
                      <a:pt x="344" y="702"/>
                      <a:pt x="144" y="563"/>
                      <a:pt x="162" y="419"/>
                    </a:cubicBezTo>
                    <a:lnTo>
                      <a:pt x="213" y="425"/>
                    </a:lnTo>
                    <a:cubicBezTo>
                      <a:pt x="201" y="519"/>
                      <a:pt x="331" y="630"/>
                      <a:pt x="382" y="665"/>
                    </a:cubicBezTo>
                    <a:lnTo>
                      <a:pt x="353" y="708"/>
                    </a:ln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1" name="Freeform 307">
                <a:extLst>
                  <a:ext uri="{FF2B5EF4-FFF2-40B4-BE49-F238E27FC236}">
                    <a16:creationId xmlns:a16="http://schemas.microsoft.com/office/drawing/2014/main" id="{D7A607EC-8331-4374-9C9F-FB6FE7CF86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358901" y="4653498"/>
                <a:ext cx="192088" cy="438150"/>
              </a:xfrm>
              <a:custGeom>
                <a:avLst/>
                <a:gdLst>
                  <a:gd name="T0" fmla="*/ 712 w 714"/>
                  <a:gd name="T1" fmla="*/ 1536 h 1632"/>
                  <a:gd name="T2" fmla="*/ 712 w 714"/>
                  <a:gd name="T3" fmla="*/ 12 h 1632"/>
                  <a:gd name="T4" fmla="*/ 587 w 714"/>
                  <a:gd name="T5" fmla="*/ 0 h 1632"/>
                  <a:gd name="T6" fmla="*/ 375 w 714"/>
                  <a:gd name="T7" fmla="*/ 71 h 1632"/>
                  <a:gd name="T8" fmla="*/ 330 w 714"/>
                  <a:gd name="T9" fmla="*/ 240 h 1632"/>
                  <a:gd name="T10" fmla="*/ 408 w 714"/>
                  <a:gd name="T11" fmla="*/ 288 h 1632"/>
                  <a:gd name="T12" fmla="*/ 201 w 714"/>
                  <a:gd name="T13" fmla="*/ 409 h 1632"/>
                  <a:gd name="T14" fmla="*/ 56 w 714"/>
                  <a:gd name="T15" fmla="*/ 931 h 1632"/>
                  <a:gd name="T16" fmla="*/ 167 w 714"/>
                  <a:gd name="T17" fmla="*/ 1056 h 1632"/>
                  <a:gd name="T18" fmla="*/ 478 w 714"/>
                  <a:gd name="T19" fmla="*/ 991 h 1632"/>
                  <a:gd name="T20" fmla="*/ 551 w 714"/>
                  <a:gd name="T21" fmla="*/ 1078 h 1632"/>
                  <a:gd name="T22" fmla="*/ 502 w 714"/>
                  <a:gd name="T23" fmla="*/ 1091 h 1632"/>
                  <a:gd name="T24" fmla="*/ 459 w 714"/>
                  <a:gd name="T25" fmla="*/ 1038 h 1632"/>
                  <a:gd name="T26" fmla="*/ 228 w 714"/>
                  <a:gd name="T27" fmla="*/ 1082 h 1632"/>
                  <a:gd name="T28" fmla="*/ 231 w 714"/>
                  <a:gd name="T29" fmla="*/ 1084 h 1632"/>
                  <a:gd name="T30" fmla="*/ 178 w 714"/>
                  <a:gd name="T31" fmla="*/ 1108 h 1632"/>
                  <a:gd name="T32" fmla="*/ 69 w 714"/>
                  <a:gd name="T33" fmla="*/ 1240 h 1632"/>
                  <a:gd name="T34" fmla="*/ 311 w 714"/>
                  <a:gd name="T35" fmla="*/ 1505 h 1632"/>
                  <a:gd name="T36" fmla="*/ 509 w 714"/>
                  <a:gd name="T37" fmla="*/ 1343 h 1632"/>
                  <a:gd name="T38" fmla="*/ 560 w 714"/>
                  <a:gd name="T39" fmla="*/ 1348 h 1632"/>
                  <a:gd name="T40" fmla="*/ 358 w 714"/>
                  <a:gd name="T41" fmla="*/ 1539 h 1632"/>
                  <a:gd name="T42" fmla="*/ 585 w 714"/>
                  <a:gd name="T43" fmla="*/ 1632 h 1632"/>
                  <a:gd name="T44" fmla="*/ 714 w 714"/>
                  <a:gd name="T45" fmla="*/ 1542 h 1632"/>
                  <a:gd name="T46" fmla="*/ 714 w 714"/>
                  <a:gd name="T47" fmla="*/ 1541 h 1632"/>
                  <a:gd name="T48" fmla="*/ 712 w 714"/>
                  <a:gd name="T49" fmla="*/ 1536 h 1632"/>
                  <a:gd name="T50" fmla="*/ 362 w 714"/>
                  <a:gd name="T51" fmla="*/ 708 h 1632"/>
                  <a:gd name="T52" fmla="*/ 333 w 714"/>
                  <a:gd name="T53" fmla="*/ 665 h 1632"/>
                  <a:gd name="T54" fmla="*/ 501 w 714"/>
                  <a:gd name="T55" fmla="*/ 425 h 1632"/>
                  <a:gd name="T56" fmla="*/ 552 w 714"/>
                  <a:gd name="T57" fmla="*/ 419 h 1632"/>
                  <a:gd name="T58" fmla="*/ 362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712" y="1536"/>
                    </a:moveTo>
                    <a:lnTo>
                      <a:pt x="712" y="12"/>
                    </a:lnTo>
                    <a:cubicBezTo>
                      <a:pt x="684" y="6"/>
                      <a:pt x="638" y="0"/>
                      <a:pt x="587" y="0"/>
                    </a:cubicBezTo>
                    <a:cubicBezTo>
                      <a:pt x="519" y="0"/>
                      <a:pt x="427" y="12"/>
                      <a:pt x="375" y="71"/>
                    </a:cubicBezTo>
                    <a:cubicBezTo>
                      <a:pt x="340" y="110"/>
                      <a:pt x="325" y="167"/>
                      <a:pt x="330" y="240"/>
                    </a:cubicBezTo>
                    <a:cubicBezTo>
                      <a:pt x="367" y="245"/>
                      <a:pt x="405" y="257"/>
                      <a:pt x="408" y="288"/>
                    </a:cubicBezTo>
                    <a:cubicBezTo>
                      <a:pt x="412" y="322"/>
                      <a:pt x="379" y="354"/>
                      <a:pt x="201" y="409"/>
                    </a:cubicBezTo>
                    <a:cubicBezTo>
                      <a:pt x="169" y="460"/>
                      <a:pt x="0" y="746"/>
                      <a:pt x="56" y="931"/>
                    </a:cubicBezTo>
                    <a:cubicBezTo>
                      <a:pt x="74" y="988"/>
                      <a:pt x="110" y="1028"/>
                      <a:pt x="167" y="1056"/>
                    </a:cubicBezTo>
                    <a:cubicBezTo>
                      <a:pt x="213" y="1031"/>
                      <a:pt x="378" y="950"/>
                      <a:pt x="478" y="991"/>
                    </a:cubicBezTo>
                    <a:cubicBezTo>
                      <a:pt x="515" y="1006"/>
                      <a:pt x="540" y="1036"/>
                      <a:pt x="551" y="1078"/>
                    </a:cubicBezTo>
                    <a:lnTo>
                      <a:pt x="502" y="1091"/>
                    </a:lnTo>
                    <a:cubicBezTo>
                      <a:pt x="495" y="1065"/>
                      <a:pt x="480" y="1048"/>
                      <a:pt x="459" y="1038"/>
                    </a:cubicBezTo>
                    <a:cubicBezTo>
                      <a:pt x="399" y="1014"/>
                      <a:pt x="295" y="1051"/>
                      <a:pt x="228" y="1082"/>
                    </a:cubicBezTo>
                    <a:lnTo>
                      <a:pt x="231" y="1084"/>
                    </a:lnTo>
                    <a:lnTo>
                      <a:pt x="178" y="1108"/>
                    </a:lnTo>
                    <a:cubicBezTo>
                      <a:pt x="177" y="1108"/>
                      <a:pt x="73" y="1157"/>
                      <a:pt x="69" y="1240"/>
                    </a:cubicBezTo>
                    <a:cubicBezTo>
                      <a:pt x="65" y="1318"/>
                      <a:pt x="149" y="1410"/>
                      <a:pt x="311" y="1505"/>
                    </a:cubicBezTo>
                    <a:cubicBezTo>
                      <a:pt x="388" y="1468"/>
                      <a:pt x="504" y="1396"/>
                      <a:pt x="509" y="1343"/>
                    </a:cubicBezTo>
                    <a:lnTo>
                      <a:pt x="560" y="1348"/>
                    </a:lnTo>
                    <a:cubicBezTo>
                      <a:pt x="553" y="1429"/>
                      <a:pt x="422" y="1505"/>
                      <a:pt x="358" y="1539"/>
                    </a:cubicBezTo>
                    <a:cubicBezTo>
                      <a:pt x="408" y="1574"/>
                      <a:pt x="502" y="1632"/>
                      <a:pt x="585" y="1632"/>
                    </a:cubicBezTo>
                    <a:cubicBezTo>
                      <a:pt x="644" y="1632"/>
                      <a:pt x="686" y="1602"/>
                      <a:pt x="714" y="1542"/>
                    </a:cubicBezTo>
                    <a:cubicBezTo>
                      <a:pt x="714" y="1541"/>
                      <a:pt x="714" y="1541"/>
                      <a:pt x="714" y="1541"/>
                    </a:cubicBezTo>
                    <a:lnTo>
                      <a:pt x="712" y="1536"/>
                    </a:lnTo>
                    <a:close/>
                    <a:moveTo>
                      <a:pt x="362" y="708"/>
                    </a:moveTo>
                    <a:lnTo>
                      <a:pt x="333" y="665"/>
                    </a:lnTo>
                    <a:cubicBezTo>
                      <a:pt x="384" y="630"/>
                      <a:pt x="513" y="519"/>
                      <a:pt x="501" y="425"/>
                    </a:cubicBezTo>
                    <a:lnTo>
                      <a:pt x="552" y="419"/>
                    </a:lnTo>
                    <a:cubicBezTo>
                      <a:pt x="571" y="563"/>
                      <a:pt x="370" y="702"/>
                      <a:pt x="362" y="708"/>
                    </a:cubicBez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</p:grpSp>
      </p:grp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680" y="3319401"/>
            <a:ext cx="702012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87034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108CD7-F380-4781-9CBB-14D3835FF4C2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4.03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C3DBA1C-553F-47F9-8206-18BF8A76B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76EF870-C0D1-4E65-ACDA-AC0C4DCD67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48E6316B-2069-4750-BF15-CC3D33F8A2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E9AA332B-9DF1-4240-9A4C-9FDC17CE14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E172CBCD-D32E-4101-91DA-372D4E674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EE8D2679-F21D-4AEE-BACE-016F73C14C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F561E1-F8AF-40EB-A833-95BC6D6C8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5" name="Inhaltsplatzhalter 9">
            <a:extLst>
              <a:ext uri="{FF2B5EF4-FFF2-40B4-BE49-F238E27FC236}">
                <a16:creationId xmlns:a16="http://schemas.microsoft.com/office/drawing/2014/main" id="{F0946075-0AC7-48A3-8D0F-123C98FFD6E5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1546285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6" name="Inhaltsplatzhalter 9">
            <a:extLst>
              <a:ext uri="{FF2B5EF4-FFF2-40B4-BE49-F238E27FC236}">
                <a16:creationId xmlns:a16="http://schemas.microsoft.com/office/drawing/2014/main" id="{B58AB14C-CDD4-4AAB-904A-52D84FAE9367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470904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46285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8" name="Inhaltsplatzhalter 9">
            <a:extLst>
              <a:ext uri="{FF2B5EF4-FFF2-40B4-BE49-F238E27FC236}">
                <a16:creationId xmlns:a16="http://schemas.microsoft.com/office/drawing/2014/main" id="{321D1B94-2D21-41E1-A777-3DC603FBD84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470904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9" name="Inhaltsplatzhalter 9">
            <a:extLst>
              <a:ext uri="{FF2B5EF4-FFF2-40B4-BE49-F238E27FC236}">
                <a16:creationId xmlns:a16="http://schemas.microsoft.com/office/drawing/2014/main" id="{C7600883-7FF9-4E2D-AD32-649383774589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1546285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0" name="Inhaltsplatzhalter 9">
            <a:extLst>
              <a:ext uri="{FF2B5EF4-FFF2-40B4-BE49-F238E27FC236}">
                <a16:creationId xmlns:a16="http://schemas.microsoft.com/office/drawing/2014/main" id="{C15AA9A2-7395-47A8-A1A0-37D3FEFF7A48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470904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1" name="Inhaltsplatzhalter 9">
            <a:extLst>
              <a:ext uri="{FF2B5EF4-FFF2-40B4-BE49-F238E27FC236}">
                <a16:creationId xmlns:a16="http://schemas.microsoft.com/office/drawing/2014/main" id="{AE55F5E1-5331-469D-88FF-C70B9DE6E480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546285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2" name="Inhaltsplatzhalter 9">
            <a:extLst>
              <a:ext uri="{FF2B5EF4-FFF2-40B4-BE49-F238E27FC236}">
                <a16:creationId xmlns:a16="http://schemas.microsoft.com/office/drawing/2014/main" id="{99528CFB-C5EA-4EC6-8C5D-7EA239BE48D9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7470904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Fußzeilenplatzhalter 3">
            <a:extLst>
              <a:ext uri="{FF2B5EF4-FFF2-40B4-BE49-F238E27FC236}">
                <a16:creationId xmlns:a16="http://schemas.microsoft.com/office/drawing/2014/main" id="{FD2B0766-60EA-44DA-B183-D7D8F0681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84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8227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Titelfolie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B10034"/>
              </a:solidFill>
            </a:endParaRP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platzhalter 38">
            <a:extLst>
              <a:ext uri="{FF2B5EF4-FFF2-40B4-BE49-F238E27FC236}">
                <a16:creationId xmlns:a16="http://schemas.microsoft.com/office/drawing/2014/main" id="{8772F2C6-6216-40E2-961F-FE177F24D2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Untertitel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34803B6-1E5B-CE4E-A696-6675417BFBE3}"/>
              </a:ext>
            </a:extLst>
          </p:cNvPr>
          <p:cNvSpPr txBox="1"/>
          <p:nvPr userDrawn="1"/>
        </p:nvSpPr>
        <p:spPr>
          <a:xfrm>
            <a:off x="4533901" y="2879765"/>
            <a:ext cx="7086599" cy="24324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sz="12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Project ABBA 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l">
              <a:buNone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86EA6AB-BE30-4118-A30A-9B995917C5BF}"/>
              </a:ext>
            </a:extLst>
          </p:cNvPr>
          <p:cNvSpPr txBox="1"/>
          <p:nvPr userDrawn="1"/>
        </p:nvSpPr>
        <p:spPr>
          <a:xfrm>
            <a:off x="4548554" y="543705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sz="120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</a:t>
            </a:r>
            <a:endParaRPr lang="de-DE" sz="1200">
              <a:solidFill>
                <a:schemeClr val="tx2"/>
              </a:solidFill>
            </a:endParaRPr>
          </a:p>
          <a:p>
            <a:pPr lvl="0"/>
            <a:r>
              <a:rPr lang="de-DE" sz="120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</a:t>
            </a:r>
            <a:endParaRPr lang="de-DE" sz="1200">
              <a:solidFill>
                <a:schemeClr val="tx2"/>
              </a:solidFill>
            </a:endParaRPr>
          </a:p>
          <a:p>
            <a:pPr marL="0" indent="0" algn="l">
              <a:buFont typeface="Wingdings" panose="05000000000000000000" pitchFamily="2" charset="2"/>
              <a:buNone/>
            </a:pPr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21" name="Grafik 20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D8810B87-4736-4543-A920-15DE7283C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  <p:pic>
        <p:nvPicPr>
          <p:cNvPr id="20" name="Grafik 19" descr="Ein Bild, das Text enthält.&#10;&#10;Automatisch generierte Beschreibung">
            <a:extLst>
              <a:ext uri="{FF2B5EF4-FFF2-40B4-BE49-F238E27FC236}">
                <a16:creationId xmlns:a16="http://schemas.microsoft.com/office/drawing/2014/main" id="{E0FBF777-2D07-4643-A14C-B34B1D1098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8175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17A98-4CAA-496C-963B-DDB831338C2E}" type="datetime1">
              <a:rPr lang="de-DE" smtClean="0"/>
              <a:t>14.03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202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D27369-120A-4F08-BD89-BC24F5AC44F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4.03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C1BBFD50-AC67-42D2-B069-845E2B374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4622"/>
            <a:ext cx="5203943" cy="920067"/>
          </a:xfrm>
          <a:custGeom>
            <a:avLst/>
            <a:gdLst>
              <a:gd name="connsiteX0" fmla="*/ 805682 w 4228204"/>
              <a:gd name="connsiteY0" fmla="*/ 185520 h 920067"/>
              <a:gd name="connsiteX1" fmla="*/ 805682 w 4228204"/>
              <a:gd name="connsiteY1" fmla="*/ 730596 h 920067"/>
              <a:gd name="connsiteX2" fmla="*/ 827282 w 4228204"/>
              <a:gd name="connsiteY2" fmla="*/ 730596 h 920067"/>
              <a:gd name="connsiteX3" fmla="*/ 827282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5520"/>
                </a:moveTo>
                <a:lnTo>
                  <a:pt x="805682" y="730596"/>
                </a:lnTo>
                <a:lnTo>
                  <a:pt x="827282" y="730596"/>
                </a:lnTo>
                <a:lnTo>
                  <a:pt x="827282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FF4D1CD-7310-4F47-A531-B081E4A29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988"/>
            <a:ext cx="5203943" cy="920067"/>
          </a:xfrm>
          <a:custGeom>
            <a:avLst/>
            <a:gdLst>
              <a:gd name="connsiteX0" fmla="*/ 805682 w 4228204"/>
              <a:gd name="connsiteY0" fmla="*/ 175252 h 920067"/>
              <a:gd name="connsiteX1" fmla="*/ 805682 w 4228204"/>
              <a:gd name="connsiteY1" fmla="*/ 720328 h 920067"/>
              <a:gd name="connsiteX2" fmla="*/ 827282 w 4228204"/>
              <a:gd name="connsiteY2" fmla="*/ 720328 h 920067"/>
              <a:gd name="connsiteX3" fmla="*/ 827282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75252"/>
                </a:moveTo>
                <a:lnTo>
                  <a:pt x="805682" y="720328"/>
                </a:lnTo>
                <a:lnTo>
                  <a:pt x="827282" y="720328"/>
                </a:lnTo>
                <a:lnTo>
                  <a:pt x="827282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B7ED82DA-2F7E-4A19-AC70-B35827D3F5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5350"/>
            <a:ext cx="5203943" cy="920067"/>
          </a:xfrm>
          <a:custGeom>
            <a:avLst/>
            <a:gdLst>
              <a:gd name="connsiteX0" fmla="*/ 805682 w 4228204"/>
              <a:gd name="connsiteY0" fmla="*/ 189912 h 920067"/>
              <a:gd name="connsiteX1" fmla="*/ 805682 w 4228204"/>
              <a:gd name="connsiteY1" fmla="*/ 734988 h 920067"/>
              <a:gd name="connsiteX2" fmla="*/ 827282 w 4228204"/>
              <a:gd name="connsiteY2" fmla="*/ 734988 h 920067"/>
              <a:gd name="connsiteX3" fmla="*/ 827282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9912"/>
                </a:moveTo>
                <a:lnTo>
                  <a:pt x="805682" y="734988"/>
                </a:lnTo>
                <a:lnTo>
                  <a:pt x="827282" y="734988"/>
                </a:lnTo>
                <a:lnTo>
                  <a:pt x="827282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44A13067-6028-4186-8764-01D222AAD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713"/>
            <a:ext cx="5203943" cy="920067"/>
          </a:xfrm>
          <a:custGeom>
            <a:avLst/>
            <a:gdLst>
              <a:gd name="connsiteX0" fmla="*/ 805682 w 4228204"/>
              <a:gd name="connsiteY0" fmla="*/ 191873 h 920067"/>
              <a:gd name="connsiteX1" fmla="*/ 805682 w 4228204"/>
              <a:gd name="connsiteY1" fmla="*/ 736949 h 920067"/>
              <a:gd name="connsiteX2" fmla="*/ 827282 w 4228204"/>
              <a:gd name="connsiteY2" fmla="*/ 736949 h 920067"/>
              <a:gd name="connsiteX3" fmla="*/ 827282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91873"/>
                </a:moveTo>
                <a:lnTo>
                  <a:pt x="805682" y="736949"/>
                </a:lnTo>
                <a:lnTo>
                  <a:pt x="827282" y="736949"/>
                </a:lnTo>
                <a:lnTo>
                  <a:pt x="827282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B4CF5608-10FA-4712-9790-79EFC49699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4622"/>
            <a:ext cx="5203943" cy="920067"/>
          </a:xfrm>
          <a:custGeom>
            <a:avLst/>
            <a:gdLst>
              <a:gd name="connsiteX0" fmla="*/ 822545 w 4228204"/>
              <a:gd name="connsiteY0" fmla="*/ 185520 h 920067"/>
              <a:gd name="connsiteX1" fmla="*/ 822545 w 4228204"/>
              <a:gd name="connsiteY1" fmla="*/ 730596 h 920067"/>
              <a:gd name="connsiteX2" fmla="*/ 844145 w 4228204"/>
              <a:gd name="connsiteY2" fmla="*/ 730596 h 920067"/>
              <a:gd name="connsiteX3" fmla="*/ 844145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5520"/>
                </a:moveTo>
                <a:lnTo>
                  <a:pt x="822545" y="730596"/>
                </a:lnTo>
                <a:lnTo>
                  <a:pt x="844145" y="730596"/>
                </a:lnTo>
                <a:lnTo>
                  <a:pt x="844145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4E4A1239-75DF-42F8-8141-FF2897042E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988"/>
            <a:ext cx="5203943" cy="920067"/>
          </a:xfrm>
          <a:custGeom>
            <a:avLst/>
            <a:gdLst>
              <a:gd name="connsiteX0" fmla="*/ 822545 w 4228204"/>
              <a:gd name="connsiteY0" fmla="*/ 175252 h 920067"/>
              <a:gd name="connsiteX1" fmla="*/ 822545 w 4228204"/>
              <a:gd name="connsiteY1" fmla="*/ 720328 h 920067"/>
              <a:gd name="connsiteX2" fmla="*/ 844145 w 4228204"/>
              <a:gd name="connsiteY2" fmla="*/ 720328 h 920067"/>
              <a:gd name="connsiteX3" fmla="*/ 844145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75252"/>
                </a:moveTo>
                <a:lnTo>
                  <a:pt x="822545" y="720328"/>
                </a:lnTo>
                <a:lnTo>
                  <a:pt x="844145" y="720328"/>
                </a:lnTo>
                <a:lnTo>
                  <a:pt x="844145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D01902BB-CAAC-4D67-9821-70B9CFAE85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5350"/>
            <a:ext cx="5203943" cy="920067"/>
          </a:xfrm>
          <a:custGeom>
            <a:avLst/>
            <a:gdLst>
              <a:gd name="connsiteX0" fmla="*/ 822545 w 4228204"/>
              <a:gd name="connsiteY0" fmla="*/ 189912 h 920067"/>
              <a:gd name="connsiteX1" fmla="*/ 822545 w 4228204"/>
              <a:gd name="connsiteY1" fmla="*/ 734988 h 920067"/>
              <a:gd name="connsiteX2" fmla="*/ 844145 w 4228204"/>
              <a:gd name="connsiteY2" fmla="*/ 734988 h 920067"/>
              <a:gd name="connsiteX3" fmla="*/ 844145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9912"/>
                </a:moveTo>
                <a:lnTo>
                  <a:pt x="822545" y="734988"/>
                </a:lnTo>
                <a:lnTo>
                  <a:pt x="844145" y="734988"/>
                </a:lnTo>
                <a:lnTo>
                  <a:pt x="844145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85BBCCD5-2975-4487-8168-030C907357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713"/>
            <a:ext cx="5203943" cy="920067"/>
          </a:xfrm>
          <a:custGeom>
            <a:avLst/>
            <a:gdLst>
              <a:gd name="connsiteX0" fmla="*/ 822545 w 4228204"/>
              <a:gd name="connsiteY0" fmla="*/ 191873 h 920067"/>
              <a:gd name="connsiteX1" fmla="*/ 822545 w 4228204"/>
              <a:gd name="connsiteY1" fmla="*/ 736949 h 920067"/>
              <a:gd name="connsiteX2" fmla="*/ 844145 w 4228204"/>
              <a:gd name="connsiteY2" fmla="*/ 736949 h 920067"/>
              <a:gd name="connsiteX3" fmla="*/ 844145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91873"/>
                </a:moveTo>
                <a:lnTo>
                  <a:pt x="822545" y="736949"/>
                </a:lnTo>
                <a:lnTo>
                  <a:pt x="844145" y="736949"/>
                </a:lnTo>
                <a:lnTo>
                  <a:pt x="844145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79050B90-98B6-4F1D-A364-D36A50F68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313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115D-330E-4283-8E31-0E85FCA9330A}" type="datetime1">
              <a:rPr lang="de-DE" smtClean="0"/>
              <a:t>14.03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284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0"/>
            <a:ext cx="12192000" cy="6129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0" y="3498044"/>
            <a:ext cx="8171107" cy="789560"/>
          </a:xfrm>
        </p:spPr>
        <p:txBody>
          <a:bodyPr/>
          <a:lstStyle>
            <a:lvl1pPr>
              <a:defRPr sz="2800">
                <a:solidFill>
                  <a:srgbClr val="4B4B4B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1934" cy="760412"/>
          </a:xfrm>
        </p:spPr>
        <p:txBody>
          <a:bodyPr/>
          <a:lstStyle>
            <a:lvl1pPr marL="0" indent="0">
              <a:buNone/>
              <a:defRPr>
                <a:solidFill>
                  <a:srgbClr val="4B4B4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A7AFDF6E-5108-4973-9D2D-67ADFDD4A12D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7" name="Grafik 16" descr="Ein Bild, das Text enthält.&#10;&#10;Automatisch generierte Beschreibung">
            <a:extLst>
              <a:ext uri="{FF2B5EF4-FFF2-40B4-BE49-F238E27FC236}">
                <a16:creationId xmlns:a16="http://schemas.microsoft.com/office/drawing/2014/main" id="{E6779296-889C-43A8-B867-107FEBD68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86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-1"/>
            <a:ext cx="12192000" cy="6200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36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pic>
        <p:nvPicPr>
          <p:cNvPr id="4" name="Grafik 3" descr="Ein Bild, das Text enthält.&#10;&#10;Automatisch generierte Beschreibung">
            <a:extLst>
              <a:ext uri="{FF2B5EF4-FFF2-40B4-BE49-F238E27FC236}">
                <a16:creationId xmlns:a16="http://schemas.microsoft.com/office/drawing/2014/main" id="{60BEB5C5-7930-4FD9-802B-CFC2339A45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475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262800"/>
            <a:ext cx="1219200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90960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4400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984500"/>
            <a:ext cx="6111628" cy="1689100"/>
          </a:xfrm>
          <a:prstGeom prst="rect">
            <a:avLst/>
          </a:prstGeom>
          <a:solidFill>
            <a:schemeClr val="tx2"/>
          </a:solidFill>
        </p:spPr>
        <p:txBody>
          <a:bodyPr wrap="square" lIns="144000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76042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75D50384-E3FC-40F9-9015-B304134A640A}"/>
              </a:ext>
            </a:extLst>
          </p:cNvPr>
          <p:cNvSpPr/>
          <p:nvPr userDrawn="1"/>
        </p:nvSpPr>
        <p:spPr>
          <a:xfrm>
            <a:off x="0" y="1236250"/>
            <a:ext cx="12192000" cy="56217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itelplatzhalter 9">
            <a:extLst>
              <a:ext uri="{FF2B5EF4-FFF2-40B4-BE49-F238E27FC236}">
                <a16:creationId xmlns:a16="http://schemas.microsoft.com/office/drawing/2014/main" id="{EBF5AABB-91AB-42A6-ACAF-01AFA8D23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052580" cy="638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00A917-7FEE-4539-BEB6-A05D3A39D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00" y="1449393"/>
            <a:ext cx="1108800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en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744D047-DBE7-4837-9765-21AD21D3E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00" y="6584720"/>
            <a:ext cx="777407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BB907705-D4DA-41D1-8021-0099C16CAED3}" type="datetime1">
              <a:rPr lang="de-DE" smtClean="0"/>
              <a:t>14.03.2024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4AAEA56-5A85-4B03-A52E-6C67C5CF4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de-DE" dirty="0"/>
              <a:t>ABBA | Luca Deck, Valentin Mayer </a:t>
            </a:r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435A9C5-FF72-442B-99AC-40BB79941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4000" y="6584720"/>
            <a:ext cx="304800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63709E5-1A75-444F-B4BE-2340C4E06744}"/>
              </a:ext>
            </a:extLst>
          </p:cNvPr>
          <p:cNvCxnSpPr/>
          <p:nvPr userDrawn="1"/>
        </p:nvCxnSpPr>
        <p:spPr>
          <a:xfrm flipH="1">
            <a:off x="-467201" y="409181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03EDCA-8C9C-4EF3-A61D-BA419E16438B}"/>
              </a:ext>
            </a:extLst>
          </p:cNvPr>
          <p:cNvSpPr txBox="1"/>
          <p:nvPr userDrawn="1"/>
        </p:nvSpPr>
        <p:spPr>
          <a:xfrm>
            <a:off x="-472831" y="445694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B547E8B-D79C-422A-81DC-5E5DF91B7B52}"/>
              </a:ext>
            </a:extLst>
          </p:cNvPr>
          <p:cNvCxnSpPr/>
          <p:nvPr userDrawn="1"/>
        </p:nvCxnSpPr>
        <p:spPr>
          <a:xfrm flipH="1">
            <a:off x="-467201" y="983775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F825E4A-066A-42F8-887C-683D950C5AF1}"/>
              </a:ext>
            </a:extLst>
          </p:cNvPr>
          <p:cNvSpPr txBox="1"/>
          <p:nvPr userDrawn="1"/>
        </p:nvSpPr>
        <p:spPr>
          <a:xfrm>
            <a:off x="-472831" y="1020288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8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0AD2466-4DA2-4326-AE10-6602EA720ED2}"/>
              </a:ext>
            </a:extLst>
          </p:cNvPr>
          <p:cNvCxnSpPr/>
          <p:nvPr userDrawn="1"/>
        </p:nvCxnSpPr>
        <p:spPr>
          <a:xfrm flipH="1">
            <a:off x="-467201" y="1236162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8AE78C6-42DF-4818-AF8A-7528F1898AC3}"/>
              </a:ext>
            </a:extLst>
          </p:cNvPr>
          <p:cNvSpPr txBox="1"/>
          <p:nvPr userDrawn="1"/>
        </p:nvSpPr>
        <p:spPr>
          <a:xfrm>
            <a:off x="-472831" y="1272675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1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1A28321-A51B-4143-A2E7-579B4C54E816}"/>
              </a:ext>
            </a:extLst>
          </p:cNvPr>
          <p:cNvCxnSpPr/>
          <p:nvPr userDrawn="1"/>
        </p:nvCxnSpPr>
        <p:spPr>
          <a:xfrm flipH="1">
            <a:off x="-467201" y="1451084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2EE2369-B400-4488-95B0-A229AF97E1D5}"/>
              </a:ext>
            </a:extLst>
          </p:cNvPr>
          <p:cNvSpPr txBox="1"/>
          <p:nvPr userDrawn="1"/>
        </p:nvSpPr>
        <p:spPr>
          <a:xfrm>
            <a:off x="-472831" y="1487597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,5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23C8355-B0EC-44B3-9155-690CB075862B}"/>
              </a:ext>
            </a:extLst>
          </p:cNvPr>
          <p:cNvCxnSpPr/>
          <p:nvPr userDrawn="1"/>
        </p:nvCxnSpPr>
        <p:spPr>
          <a:xfrm flipH="1">
            <a:off x="-467201" y="620250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468E3FFC-697F-4F9E-B707-E0EBB27D5EEB}"/>
              </a:ext>
            </a:extLst>
          </p:cNvPr>
          <p:cNvSpPr txBox="1"/>
          <p:nvPr userDrawn="1"/>
        </p:nvSpPr>
        <p:spPr>
          <a:xfrm>
            <a:off x="-472831" y="623902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,7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A5EA9C0-7BE5-4536-A653-A86353CE4396}"/>
              </a:ext>
            </a:extLst>
          </p:cNvPr>
          <p:cNvCxnSpPr/>
          <p:nvPr userDrawn="1"/>
        </p:nvCxnSpPr>
        <p:spPr>
          <a:xfrm flipH="1">
            <a:off x="-467201" y="645456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C584EB1C-8DF8-4788-AE49-C41F66462D0F}"/>
              </a:ext>
            </a:extLst>
          </p:cNvPr>
          <p:cNvSpPr txBox="1"/>
          <p:nvPr userDrawn="1"/>
        </p:nvSpPr>
        <p:spPr>
          <a:xfrm>
            <a:off x="-472831" y="649108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FB193B5-8CCF-478B-AC02-3C59BA49336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49707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D57D7049-6EED-4A67-8684-DCF98D7C9662}"/>
              </a:ext>
            </a:extLst>
          </p:cNvPr>
          <p:cNvSpPr txBox="1"/>
          <p:nvPr userDrawn="1"/>
        </p:nvSpPr>
        <p:spPr>
          <a:xfrm rot="5400000">
            <a:off x="293079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7540CE6-88DA-4841-A94D-EA4FE05E6E9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1640979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AFB58F39-8DEC-4D44-B86F-164ACF9E793F}"/>
              </a:ext>
            </a:extLst>
          </p:cNvPr>
          <p:cNvSpPr txBox="1"/>
          <p:nvPr userDrawn="1"/>
        </p:nvSpPr>
        <p:spPr>
          <a:xfrm rot="5400000">
            <a:off x="11384351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5D05D5-C785-4D1F-9705-D936D74257FD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799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3897" r:id="rId2"/>
    <p:sldLayoutId id="2147484052" r:id="rId3"/>
    <p:sldLayoutId id="2147483898" r:id="rId4"/>
    <p:sldLayoutId id="2147484053" r:id="rId5"/>
    <p:sldLayoutId id="2147483899" r:id="rId6"/>
    <p:sldLayoutId id="2147483900" r:id="rId7"/>
    <p:sldLayoutId id="2147484059" r:id="rId8"/>
    <p:sldLayoutId id="2147484060" r:id="rId9"/>
    <p:sldLayoutId id="2147484011" r:id="rId10"/>
    <p:sldLayoutId id="2147484012" r:id="rId11"/>
    <p:sldLayoutId id="2147484013" r:id="rId12"/>
    <p:sldLayoutId id="2147484016" r:id="rId13"/>
    <p:sldLayoutId id="2147484017" r:id="rId14"/>
    <p:sldLayoutId id="2147484018" r:id="rId15"/>
    <p:sldLayoutId id="2147484019" r:id="rId16"/>
    <p:sldLayoutId id="2147483912" r:id="rId17"/>
    <p:sldLayoutId id="2147483915" r:id="rId18"/>
    <p:sldLayoutId id="2147484058" r:id="rId19"/>
    <p:sldLayoutId id="2147484064" r:id="rId20"/>
  </p:sldLayoutIdLst>
  <p:hf hd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396000" indent="-185738" algn="l" defTabSz="742950" rtl="0" eaLnBrk="1" latinLnBrk="0" hangingPunct="1">
        <a:lnSpc>
          <a:spcPct val="100000"/>
        </a:lnSpc>
        <a:spcBef>
          <a:spcPts val="600"/>
        </a:spcBef>
        <a:buFont typeface="Trebuchet MS" panose="020B0603020202020204" pitchFamily="34" charset="0"/>
        <a:buChar char="−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612000" indent="-185738" algn="l" defTabSz="7429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rgbClr val="4B4B4B"/>
          </a:solidFill>
          <a:latin typeface="+mn-lt"/>
          <a:ea typeface="+mn-ea"/>
          <a:cs typeface="+mn-cs"/>
        </a:defRPr>
      </a:lvl3pPr>
      <a:lvl4pPr marL="82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»"/>
        <a:defRPr sz="1100" kern="1200">
          <a:solidFill>
            <a:srgbClr val="4B4B4B"/>
          </a:solidFill>
          <a:latin typeface="+mn-lt"/>
          <a:ea typeface="+mn-ea"/>
          <a:cs typeface="+mn-cs"/>
        </a:defRPr>
      </a:lvl4pPr>
      <a:lvl5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›"/>
        <a:defRPr sz="1100" kern="1200">
          <a:solidFill>
            <a:srgbClr val="4B4B4B"/>
          </a:solidFill>
          <a:latin typeface="+mn-lt"/>
          <a:ea typeface="+mn-ea"/>
          <a:cs typeface="+mn-cs"/>
        </a:defRPr>
      </a:lvl5pPr>
      <a:lvl6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&gt;"/>
        <a:defRPr sz="1100" kern="1200">
          <a:solidFill>
            <a:srgbClr val="4B4B4B"/>
          </a:solidFill>
          <a:latin typeface="+mn-lt"/>
          <a:ea typeface="+mn-ea"/>
          <a:cs typeface="+mn-cs"/>
        </a:defRPr>
      </a:lvl6pPr>
      <a:lvl7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¬"/>
        <a:defRPr sz="1100" kern="1200">
          <a:solidFill>
            <a:srgbClr val="4B4B4B"/>
          </a:solidFill>
          <a:latin typeface="+mn-lt"/>
          <a:ea typeface="+mn-ea"/>
          <a:cs typeface="+mn-cs"/>
        </a:defRPr>
      </a:lvl7pPr>
      <a:lvl8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Courier New" panose="02070309020205020404" pitchFamily="49" charset="0"/>
        <a:buChar char="o"/>
        <a:defRPr sz="1100" kern="1200">
          <a:solidFill>
            <a:srgbClr val="4B4B4B"/>
          </a:solidFill>
          <a:latin typeface="+mn-lt"/>
          <a:ea typeface="+mn-ea"/>
          <a:cs typeface="+mn-cs"/>
        </a:defRPr>
      </a:lvl8pPr>
      <a:lvl9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▫"/>
        <a:defRPr sz="11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777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image" Target="../media/image27.svg"/><Relationship Id="rId18" Type="http://schemas.openxmlformats.org/officeDocument/2006/relationships/image" Target="../media/image31.png"/><Relationship Id="rId26" Type="http://schemas.openxmlformats.org/officeDocument/2006/relationships/image" Target="../media/image38.png"/><Relationship Id="rId3" Type="http://schemas.openxmlformats.org/officeDocument/2006/relationships/chart" Target="../charts/chart1.xml"/><Relationship Id="rId21" Type="http://schemas.openxmlformats.org/officeDocument/2006/relationships/image" Target="../media/image33.png"/><Relationship Id="rId7" Type="http://schemas.openxmlformats.org/officeDocument/2006/relationships/image" Target="../media/image23.svg"/><Relationship Id="rId12" Type="http://schemas.openxmlformats.org/officeDocument/2006/relationships/image" Target="../media/image26.png"/><Relationship Id="rId17" Type="http://schemas.openxmlformats.org/officeDocument/2006/relationships/chart" Target="../charts/chart4.xml"/><Relationship Id="rId25" Type="http://schemas.openxmlformats.org/officeDocument/2006/relationships/image" Target="../media/image37.png"/><Relationship Id="rId2" Type="http://schemas.openxmlformats.org/officeDocument/2006/relationships/image" Target="../media/image19.png"/><Relationship Id="rId16" Type="http://schemas.openxmlformats.org/officeDocument/2006/relationships/image" Target="../media/image30.svg"/><Relationship Id="rId20" Type="http://schemas.openxmlformats.org/officeDocument/2006/relationships/chart" Target="../charts/chart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.png"/><Relationship Id="rId11" Type="http://schemas.openxmlformats.org/officeDocument/2006/relationships/image" Target="../media/image25.svg"/><Relationship Id="rId24" Type="http://schemas.openxmlformats.org/officeDocument/2006/relationships/image" Target="../media/image36.svg"/><Relationship Id="rId5" Type="http://schemas.openxmlformats.org/officeDocument/2006/relationships/image" Target="../media/image21.svg"/><Relationship Id="rId15" Type="http://schemas.openxmlformats.org/officeDocument/2006/relationships/image" Target="../media/image29.png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image" Target="../media/image24.png"/><Relationship Id="rId19" Type="http://schemas.openxmlformats.org/officeDocument/2006/relationships/image" Target="../media/image32.svg"/><Relationship Id="rId4" Type="http://schemas.openxmlformats.org/officeDocument/2006/relationships/image" Target="../media/image20.png"/><Relationship Id="rId9" Type="http://schemas.openxmlformats.org/officeDocument/2006/relationships/chart" Target="../charts/chart3.xml"/><Relationship Id="rId14" Type="http://schemas.openxmlformats.org/officeDocument/2006/relationships/image" Target="../media/image28.png"/><Relationship Id="rId22" Type="http://schemas.openxmlformats.org/officeDocument/2006/relationships/image" Target="../media/image34.svg"/><Relationship Id="rId27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5.png"/><Relationship Id="rId18" Type="http://schemas.openxmlformats.org/officeDocument/2006/relationships/image" Target="../media/image34.svg"/><Relationship Id="rId26" Type="http://schemas.openxmlformats.org/officeDocument/2006/relationships/chart" Target="../charts/chart9.xml"/><Relationship Id="rId3" Type="http://schemas.openxmlformats.org/officeDocument/2006/relationships/chart" Target="../charts/chart6.xml"/><Relationship Id="rId21" Type="http://schemas.openxmlformats.org/officeDocument/2006/relationships/chart" Target="../charts/chart8.xml"/><Relationship Id="rId34" Type="http://schemas.openxmlformats.org/officeDocument/2006/relationships/image" Target="../media/image52.svg"/><Relationship Id="rId7" Type="http://schemas.openxmlformats.org/officeDocument/2006/relationships/image" Target="../media/image30.svg"/><Relationship Id="rId12" Type="http://schemas.openxmlformats.org/officeDocument/2006/relationships/chart" Target="../charts/chart7.xml"/><Relationship Id="rId17" Type="http://schemas.openxmlformats.org/officeDocument/2006/relationships/image" Target="../media/image33.png"/><Relationship Id="rId25" Type="http://schemas.openxmlformats.org/officeDocument/2006/relationships/image" Target="../media/image50.svg"/><Relationship Id="rId33" Type="http://schemas.openxmlformats.org/officeDocument/2006/relationships/image" Target="../media/image51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48.png"/><Relationship Id="rId20" Type="http://schemas.openxmlformats.org/officeDocument/2006/relationships/image" Target="../media/image36.svg"/><Relationship Id="rId29" Type="http://schemas.openxmlformats.org/officeDocument/2006/relationships/image" Target="../media/image25.svg"/><Relationship Id="rId1" Type="http://schemas.openxmlformats.org/officeDocument/2006/relationships/tags" Target="../tags/tag2.xml"/><Relationship Id="rId6" Type="http://schemas.openxmlformats.org/officeDocument/2006/relationships/image" Target="../media/image29.png"/><Relationship Id="rId11" Type="http://schemas.openxmlformats.org/officeDocument/2006/relationships/image" Target="../media/image44.svg"/><Relationship Id="rId24" Type="http://schemas.openxmlformats.org/officeDocument/2006/relationships/image" Target="../media/image22.png"/><Relationship Id="rId32" Type="http://schemas.openxmlformats.org/officeDocument/2006/relationships/hyperlink" Target="https://research.google.com/bigpicture/attacking-discrimination-in-ml/" TargetMode="External"/><Relationship Id="rId5" Type="http://schemas.openxmlformats.org/officeDocument/2006/relationships/image" Target="../media/image32.svg"/><Relationship Id="rId15" Type="http://schemas.openxmlformats.org/officeDocument/2006/relationships/image" Target="../media/image47.png"/><Relationship Id="rId23" Type="http://schemas.openxmlformats.org/officeDocument/2006/relationships/image" Target="../media/image49.svg"/><Relationship Id="rId28" Type="http://schemas.openxmlformats.org/officeDocument/2006/relationships/image" Target="../media/image24.png"/><Relationship Id="rId10" Type="http://schemas.openxmlformats.org/officeDocument/2006/relationships/image" Target="../media/image43.png"/><Relationship Id="rId19" Type="http://schemas.openxmlformats.org/officeDocument/2006/relationships/image" Target="../media/image35.png"/><Relationship Id="rId31" Type="http://schemas.openxmlformats.org/officeDocument/2006/relationships/image" Target="../media/image27.svg"/><Relationship Id="rId4" Type="http://schemas.openxmlformats.org/officeDocument/2006/relationships/image" Target="../media/image31.png"/><Relationship Id="rId9" Type="http://schemas.openxmlformats.org/officeDocument/2006/relationships/image" Target="../media/image42.svg"/><Relationship Id="rId14" Type="http://schemas.openxmlformats.org/officeDocument/2006/relationships/image" Target="../media/image46.svg"/><Relationship Id="rId22" Type="http://schemas.openxmlformats.org/officeDocument/2006/relationships/image" Target="../media/image20.png"/><Relationship Id="rId27" Type="http://schemas.openxmlformats.org/officeDocument/2006/relationships/chart" Target="../charts/chart10.xml"/><Relationship Id="rId30" Type="http://schemas.openxmlformats.org/officeDocument/2006/relationships/image" Target="../media/image26.png"/><Relationship Id="rId8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fairlearn.org/" TargetMode="External"/><Relationship Id="rId2" Type="http://schemas.openxmlformats.org/officeDocument/2006/relationships/hyperlink" Target="https://research.google.com/bigpicture/attacking-discrimination-in-ml/" TargetMode="Externa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www.fairmlbook.org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2B71109-26E8-4072-A917-56DD8F8A8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034" y="1398227"/>
            <a:ext cx="7090394" cy="776288"/>
          </a:xfrm>
        </p:spPr>
        <p:txBody>
          <a:bodyPr/>
          <a:lstStyle/>
          <a:p>
            <a:r>
              <a:rPr lang="de-DE" sz="2399" dirty="0" err="1"/>
              <a:t>FairDice</a:t>
            </a:r>
            <a:r>
              <a:rPr lang="de-DE" sz="2399" dirty="0"/>
              <a:t>: </a:t>
            </a:r>
            <a:r>
              <a:rPr lang="en-US" sz="2399" dirty="0"/>
              <a:t>an interactive lecture hall experiment</a:t>
            </a:r>
            <a:endParaRPr lang="de-DE" sz="2399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80F378F-E7F2-4B4A-B776-E8B71F204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ackground </a:t>
            </a:r>
            <a:r>
              <a:rPr lang="de-DE" dirty="0" err="1"/>
              <a:t>information</a:t>
            </a:r>
            <a:r>
              <a:rPr lang="de-DE" dirty="0"/>
              <a:t> and real-</a:t>
            </a:r>
            <a:r>
              <a:rPr lang="de-DE" dirty="0" err="1"/>
              <a:t>world</a:t>
            </a:r>
            <a:r>
              <a:rPr lang="de-DE" dirty="0"/>
              <a:t> </a:t>
            </a:r>
            <a:r>
              <a:rPr lang="de-DE" dirty="0" err="1"/>
              <a:t>examp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4165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A573E-C681-D7FE-BAB0-D5BCF365A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the discussed fairness notions can be found in real applications. And algorithms can implement them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729E4D-D3E3-4E88-76FF-15CC6B2FC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27AE79-2008-4C84-AAE5-3D09CAE5702B}" type="datetime1">
              <a:rPr lang="de-DE" smtClean="0"/>
              <a:t>14.03.2024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EF2828-0DA0-9FD8-33C0-851421791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2</a:t>
            </a:fld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166FDBB7-A547-C7D9-445B-CE2436BD81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2512" y="1449389"/>
            <a:ext cx="11084579" cy="4427537"/>
          </a:xfrm>
        </p:spPr>
        <p:txBody>
          <a:bodyPr>
            <a:normAutofit lnSpcReduction="10000"/>
          </a:bodyPr>
          <a:lstStyle/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Setting: Winners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are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accepted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for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university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.</a:t>
            </a:r>
          </a:p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endParaRPr lang="de-DE" sz="650" b="1" kern="0" dirty="0">
              <a:solidFill>
                <a:srgbClr val="000000"/>
              </a:solidFill>
              <a:latin typeface="Trebuchet MS"/>
            </a:endParaRPr>
          </a:p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Rules 1 and 2: all people are equal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1: Trivial equal distribution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no AI necessary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Everyone is accepted, e.g., online courses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limited resources, what about elite universities? 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2: Brute luck, equal opportunities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no AI necessary</a:t>
            </a: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lottery procedure for limited courses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arbitrary, unpredictable, undeserved?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endParaRPr lang="de-DE" sz="650" kern="0" dirty="0">
              <a:solidFill>
                <a:srgbClr val="000000"/>
              </a:solidFill>
              <a:latin typeface="Trebuchet MS"/>
            </a:endParaRPr>
          </a:p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Rules 3 and 4: some people are privileged (red = academic households)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3: Mitigating inequalities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AI optimized for “fairness”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Quota regulations for (historically) marginalized groups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Which groups deserve preferential treatment? And why?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4: Rewarding inequalities ("merit principle")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AI optimized for accuracy</a:t>
            </a: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Elite universities that only look at grades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Reinforcement of historical inequalities, lack of social mobility</a:t>
            </a:r>
            <a:endParaRPr lang="de-DE" sz="1599" kern="0" dirty="0">
              <a:solidFill>
                <a:srgbClr val="B10034"/>
              </a:solidFill>
              <a:latin typeface="Trebuchet MS"/>
            </a:endParaRPr>
          </a:p>
          <a:p>
            <a:pPr marL="258549" indent="-258549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en-US" sz="1599" kern="0" dirty="0">
              <a:solidFill>
                <a:srgbClr val="000000"/>
              </a:solidFill>
              <a:latin typeface="Trebuchet MS"/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BC9AD85-AD88-4D36-F9A1-EF727FC9F2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80700" y="1858887"/>
            <a:ext cx="4115696" cy="352848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0B8987-D0CB-DCF3-9D9C-FE6DFBCCA211}"/>
              </a:ext>
            </a:extLst>
          </p:cNvPr>
          <p:cNvCxnSpPr>
            <a:cxnSpLocks/>
          </p:cNvCxnSpPr>
          <p:nvPr/>
        </p:nvCxnSpPr>
        <p:spPr>
          <a:xfrm>
            <a:off x="10003185" y="1858886"/>
            <a:ext cx="0" cy="325376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BDBB0BF-1226-E4E5-58F4-BD3A4ECB434A}"/>
              </a:ext>
            </a:extLst>
          </p:cNvPr>
          <p:cNvSpPr txBox="1"/>
          <p:nvPr/>
        </p:nvSpPr>
        <p:spPr>
          <a:xfrm>
            <a:off x="8386699" y="3246530"/>
            <a:ext cx="1444201" cy="1895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b="1" dirty="0" err="1"/>
              <a:t>Equal</a:t>
            </a:r>
            <a:r>
              <a:rPr lang="de-DE" sz="1200" b="1" dirty="0"/>
              <a:t> </a:t>
            </a:r>
            <a:r>
              <a:rPr lang="de-DE" sz="1200" b="1" dirty="0" err="1"/>
              <a:t>opportunity</a:t>
            </a:r>
            <a:r>
              <a:rPr lang="de-DE" sz="1200" b="1" dirty="0"/>
              <a:t>?</a:t>
            </a:r>
            <a:endParaRPr lang="en-US" sz="12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A37B5B4-27EE-7575-468C-A200819B14BA}"/>
              </a:ext>
            </a:extLst>
          </p:cNvPr>
          <p:cNvSpPr txBox="1"/>
          <p:nvPr/>
        </p:nvSpPr>
        <p:spPr>
          <a:xfrm>
            <a:off x="10008707" y="3237782"/>
            <a:ext cx="1677768" cy="2133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200" b="1" err="1"/>
              <a:t>Discrimination</a:t>
            </a:r>
            <a:r>
              <a:rPr lang="de-DE" sz="1200" b="1"/>
              <a:t>?</a:t>
            </a:r>
            <a:endParaRPr lang="de-DE" sz="2133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067699C-A904-7132-1231-EBFF5040A665}"/>
              </a:ext>
            </a:extLst>
          </p:cNvPr>
          <p:cNvSpPr txBox="1"/>
          <p:nvPr/>
        </p:nvSpPr>
        <p:spPr>
          <a:xfrm>
            <a:off x="8386699" y="4862693"/>
            <a:ext cx="1444201" cy="18957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/>
            <a:r>
              <a:rPr lang="de-DE" sz="1200" b="1" err="1"/>
              <a:t>Equal</a:t>
            </a:r>
            <a:r>
              <a:rPr lang="de-DE" sz="1200" b="1"/>
              <a:t> </a:t>
            </a:r>
            <a:r>
              <a:rPr lang="de-DE" sz="1200" b="1" err="1"/>
              <a:t>outcome</a:t>
            </a:r>
            <a:r>
              <a:rPr lang="de-DE" sz="1200" b="1"/>
              <a:t>?</a:t>
            </a:r>
            <a:endParaRPr lang="en-US" sz="1200" b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2A74AB-5C9B-69DE-AC69-847FE46E3A9A}"/>
              </a:ext>
            </a:extLst>
          </p:cNvPr>
          <p:cNvSpPr txBox="1"/>
          <p:nvPr/>
        </p:nvSpPr>
        <p:spPr>
          <a:xfrm>
            <a:off x="9523987" y="5116878"/>
            <a:ext cx="1001206" cy="18957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b="1"/>
              <a:t>Disposition</a:t>
            </a:r>
            <a:endParaRPr lang="en-US" sz="1200" b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6BA3B6-CB7E-3BB2-ABC8-F6FD5896D1BE}"/>
              </a:ext>
            </a:extLst>
          </p:cNvPr>
          <p:cNvSpPr txBox="1"/>
          <p:nvPr/>
        </p:nvSpPr>
        <p:spPr>
          <a:xfrm>
            <a:off x="10110348" y="4862693"/>
            <a:ext cx="1494412" cy="1895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b="1"/>
              <a:t>Affirmative Action?</a:t>
            </a:r>
            <a:endParaRPr lang="en-US" sz="1200" b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11F38-5651-3C4B-AD26-3C58F9107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69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3" grpId="0" animBg="1"/>
      <p:bldP spid="2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5711AF-27F6-C692-4FCB-AAFF81901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If we train ML models on past data without intervention, we will no longer be living in the future, but in the pas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1F7820-9634-B7B4-6D3D-9E23F406D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103"/>
            <a:fld id="{64647E8F-5052-4581-98D0-7C32D5A45346}" type="slidenum">
              <a:rPr lang="en-US">
                <a:solidFill>
                  <a:srgbClr val="8C8C8C"/>
                </a:solidFill>
                <a:latin typeface="Trebuchet MS"/>
              </a:rPr>
              <a:pPr defTabSz="914103"/>
              <a:t>3</a:t>
            </a:fld>
            <a:endParaRPr lang="en-US">
              <a:solidFill>
                <a:srgbClr val="8C8C8C"/>
              </a:solidFill>
              <a:latin typeface="Trebuchet MS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E0B4A9AB-B6D9-FEE1-D83B-2A9E6881F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04852" y="1466741"/>
            <a:ext cx="3573640" cy="249996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38FB18-F222-4BF0-99B2-647F82C63BA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38" r="238"/>
          <a:stretch/>
        </p:blipFill>
        <p:spPr>
          <a:xfrm>
            <a:off x="1863507" y="1409477"/>
            <a:ext cx="2917122" cy="25840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8704D3C4-59CB-892B-2A6D-215609D80A1A}"/>
              </a:ext>
            </a:extLst>
          </p:cNvPr>
          <p:cNvSpPr txBox="1"/>
          <p:nvPr/>
        </p:nvSpPr>
        <p:spPr>
          <a:xfrm>
            <a:off x="5681771" y="3989140"/>
            <a:ext cx="54632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103"/>
            <a:r>
              <a:rPr lang="en-US" sz="800" i="1">
                <a:solidFill>
                  <a:srgbClr val="000000"/>
                </a:solidFill>
                <a:latin typeface="Trebuchet MS" panose="020B0603020202020204" pitchFamily="34" charset="0"/>
              </a:rPr>
              <a:t>https://www.propublica.org/article/machine-bias-risk-assessments-in-criminal-sentenc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D3E19D-1308-AFCD-B8AF-8A35FC2BD6FA}"/>
              </a:ext>
            </a:extLst>
          </p:cNvPr>
          <p:cNvSpPr txBox="1"/>
          <p:nvPr/>
        </p:nvSpPr>
        <p:spPr>
          <a:xfrm>
            <a:off x="1604723" y="3989140"/>
            <a:ext cx="335894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03"/>
            <a:r>
              <a:rPr lang="en-US" sz="800" i="1" dirty="0">
                <a:solidFill>
                  <a:srgbClr val="000000"/>
                </a:solidFill>
                <a:latin typeface="Trebuchet MS" panose="020B0603020202020204" pitchFamily="34" charset="0"/>
              </a:rPr>
              <a:t>https://medium.datadriveninvestor.com/amazon-scraps-secret-ai-recruiting-engine-that-showed-biases-against-women-995c505f5c6f</a:t>
            </a:r>
          </a:p>
        </p:txBody>
      </p:sp>
      <p:pic>
        <p:nvPicPr>
          <p:cNvPr id="17" name="Inhaltsplatzhalter 8" descr="Datenbank mit einfarbiger Füllung">
            <a:extLst>
              <a:ext uri="{FF2B5EF4-FFF2-40B4-BE49-F238E27FC236}">
                <a16:creationId xmlns:a16="http://schemas.microsoft.com/office/drawing/2014/main" id="{3A1B4E18-5AAB-041E-722E-6EFE47DBE7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018" y="4387286"/>
            <a:ext cx="937857" cy="937857"/>
          </a:xfrm>
          <a:prstGeom prst="rect">
            <a:avLst/>
          </a:prstGeom>
        </p:spPr>
      </p:pic>
      <p:sp>
        <p:nvSpPr>
          <p:cNvPr id="18" name="Würfel 10">
            <a:extLst>
              <a:ext uri="{FF2B5EF4-FFF2-40B4-BE49-F238E27FC236}">
                <a16:creationId xmlns:a16="http://schemas.microsoft.com/office/drawing/2014/main" id="{5FE1432D-CAC1-11DB-7550-A1B6514566A9}"/>
              </a:ext>
            </a:extLst>
          </p:cNvPr>
          <p:cNvSpPr/>
          <p:nvPr/>
        </p:nvSpPr>
        <p:spPr>
          <a:xfrm>
            <a:off x="2848045" y="4531086"/>
            <a:ext cx="871867" cy="650257"/>
          </a:xfrm>
          <a:prstGeom prst="cube">
            <a:avLst/>
          </a:prstGeom>
          <a:solidFill>
            <a:schemeClr val="tx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03"/>
            <a:endParaRPr lang="en-US" sz="1599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9" name="Gerade Verbindung mit Pfeil 22">
            <a:extLst>
              <a:ext uri="{FF2B5EF4-FFF2-40B4-BE49-F238E27FC236}">
                <a16:creationId xmlns:a16="http://schemas.microsoft.com/office/drawing/2014/main" id="{8825A61D-7D7B-9164-8A55-06953B4BBD83}"/>
              </a:ext>
            </a:extLst>
          </p:cNvPr>
          <p:cNvCxnSpPr>
            <a:cxnSpLocks/>
          </p:cNvCxnSpPr>
          <p:nvPr/>
        </p:nvCxnSpPr>
        <p:spPr>
          <a:xfrm>
            <a:off x="2074490" y="4856214"/>
            <a:ext cx="467079" cy="1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22">
            <a:extLst>
              <a:ext uri="{FF2B5EF4-FFF2-40B4-BE49-F238E27FC236}">
                <a16:creationId xmlns:a16="http://schemas.microsoft.com/office/drawing/2014/main" id="{F23B17ED-D21A-B29B-CF37-E4D43C689D1C}"/>
              </a:ext>
            </a:extLst>
          </p:cNvPr>
          <p:cNvCxnSpPr>
            <a:cxnSpLocks/>
          </p:cNvCxnSpPr>
          <p:nvPr/>
        </p:nvCxnSpPr>
        <p:spPr>
          <a:xfrm>
            <a:off x="4026389" y="4856214"/>
            <a:ext cx="467079" cy="1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20">
            <a:extLst>
              <a:ext uri="{FF2B5EF4-FFF2-40B4-BE49-F238E27FC236}">
                <a16:creationId xmlns:a16="http://schemas.microsoft.com/office/drawing/2014/main" id="{FBAEBBA4-5E5C-2DB4-1F8F-AD6E4DFC7A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7258" y="4475593"/>
            <a:ext cx="761243" cy="76124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6D8B4CF7-6E34-B079-68CD-29EC358842BD}"/>
              </a:ext>
            </a:extLst>
          </p:cNvPr>
          <p:cNvSpPr txBox="1"/>
          <p:nvPr/>
        </p:nvSpPr>
        <p:spPr>
          <a:xfrm>
            <a:off x="623684" y="5900036"/>
            <a:ext cx="1886521" cy="173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defTabSz="914103"/>
            <a:r>
              <a:rPr lang="en-US" sz="1400" dirty="0">
                <a:solidFill>
                  <a:srgbClr val="000000"/>
                </a:solidFill>
                <a:latin typeface="Trebuchet MS" panose="020B0603020202020204" pitchFamily="34" charset="0"/>
              </a:rPr>
              <a:t>Historical patriarchy</a:t>
            </a:r>
          </a:p>
        </p:txBody>
      </p:sp>
      <p:sp>
        <p:nvSpPr>
          <p:cNvPr id="23" name="Speech Bubble: Rectangle with Corners Rounded 22">
            <a:extLst>
              <a:ext uri="{FF2B5EF4-FFF2-40B4-BE49-F238E27FC236}">
                <a16:creationId xmlns:a16="http://schemas.microsoft.com/office/drawing/2014/main" id="{965CF434-98EB-4FB2-DD21-17FA689F469A}"/>
              </a:ext>
            </a:extLst>
          </p:cNvPr>
          <p:cNvSpPr/>
          <p:nvPr/>
        </p:nvSpPr>
        <p:spPr>
          <a:xfrm>
            <a:off x="760204" y="5264413"/>
            <a:ext cx="1455485" cy="437299"/>
          </a:xfrm>
          <a:prstGeom prst="wedgeRoundRectCallout">
            <a:avLst>
              <a:gd name="adj1" fmla="val -36230"/>
              <a:gd name="adj2" fmla="val 85073"/>
              <a:gd name="adj3" fmla="val 16667"/>
            </a:avLst>
          </a:prstGeom>
          <a:solidFill>
            <a:srgbClr val="009D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3"/>
            <a:r>
              <a:rPr lang="en-US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“We have higher qualifications.”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9EAD14-8ED1-EA5A-A8F1-9B5CA15BAC70}"/>
              </a:ext>
            </a:extLst>
          </p:cNvPr>
          <p:cNvSpPr txBox="1"/>
          <p:nvPr/>
        </p:nvSpPr>
        <p:spPr>
          <a:xfrm>
            <a:off x="2433704" y="5415322"/>
            <a:ext cx="1700549" cy="23283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defTabSz="914103"/>
            <a:r>
              <a:rPr lang="en-US" sz="1400" dirty="0">
                <a:solidFill>
                  <a:srgbClr val="000000"/>
                </a:solidFill>
                <a:latin typeface="Trebuchet MS" panose="020B0603020202020204" pitchFamily="34" charset="0"/>
              </a:rPr>
              <a:t>Learning historical patterns…</a:t>
            </a:r>
          </a:p>
        </p:txBody>
      </p:sp>
      <p:sp>
        <p:nvSpPr>
          <p:cNvPr id="25" name="Speech Bubble: Rectangle with Corners Rounded 24">
            <a:extLst>
              <a:ext uri="{FF2B5EF4-FFF2-40B4-BE49-F238E27FC236}">
                <a16:creationId xmlns:a16="http://schemas.microsoft.com/office/drawing/2014/main" id="{8B75FDC3-8971-0512-C290-DBF4413B5D77}"/>
              </a:ext>
            </a:extLst>
          </p:cNvPr>
          <p:cNvSpPr/>
          <p:nvPr/>
        </p:nvSpPr>
        <p:spPr>
          <a:xfrm>
            <a:off x="4292096" y="5412466"/>
            <a:ext cx="1551567" cy="437299"/>
          </a:xfrm>
          <a:prstGeom prst="wedgeRoundRectCallout">
            <a:avLst>
              <a:gd name="adj1" fmla="val -4086"/>
              <a:gd name="adj2" fmla="val -87985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3"/>
            <a:r>
              <a:rPr lang="en-US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“Women are unqualified!”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361D8D3-D365-E106-18B6-F798A9DFEB35}"/>
              </a:ext>
            </a:extLst>
          </p:cNvPr>
          <p:cNvSpPr txBox="1"/>
          <p:nvPr/>
        </p:nvSpPr>
        <p:spPr>
          <a:xfrm>
            <a:off x="4217605" y="5870507"/>
            <a:ext cx="1700549" cy="23283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defTabSz="914103"/>
            <a:r>
              <a:rPr lang="en-US" sz="1400" dirty="0">
                <a:solidFill>
                  <a:srgbClr val="000000"/>
                </a:solidFill>
                <a:latin typeface="Trebuchet MS" panose="020B0603020202020204" pitchFamily="34" charset="0"/>
              </a:rPr>
              <a:t>Sexist recruiting too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8FFEC43-229E-BEB3-FA1D-FF8782CDC4F6}"/>
              </a:ext>
            </a:extLst>
          </p:cNvPr>
          <p:cNvSpPr/>
          <p:nvPr/>
        </p:nvSpPr>
        <p:spPr>
          <a:xfrm>
            <a:off x="552575" y="4303705"/>
            <a:ext cx="5463244" cy="1888355"/>
          </a:xfrm>
          <a:prstGeom prst="rect">
            <a:avLst/>
          </a:prstGeom>
          <a:noFill/>
          <a:ln w="28575">
            <a:solidFill>
              <a:srgbClr val="009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3"/>
            <a:endParaRPr lang="en-US" sz="1799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28" name="Inhaltsplatzhalter 8" descr="Datenbank mit einfarbiger Füllung">
            <a:extLst>
              <a:ext uri="{FF2B5EF4-FFF2-40B4-BE49-F238E27FC236}">
                <a16:creationId xmlns:a16="http://schemas.microsoft.com/office/drawing/2014/main" id="{B2620778-14F1-B8E3-1B9F-4CF7D2F390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88621" y="4383287"/>
            <a:ext cx="937857" cy="892973"/>
          </a:xfrm>
          <a:prstGeom prst="rect">
            <a:avLst/>
          </a:prstGeom>
        </p:spPr>
      </p:pic>
      <p:cxnSp>
        <p:nvCxnSpPr>
          <p:cNvPr id="29" name="Gerade Verbindung mit Pfeil 22">
            <a:extLst>
              <a:ext uri="{FF2B5EF4-FFF2-40B4-BE49-F238E27FC236}">
                <a16:creationId xmlns:a16="http://schemas.microsoft.com/office/drawing/2014/main" id="{AF181EBA-831B-5476-2F5C-A88F7F17A8C8}"/>
              </a:ext>
            </a:extLst>
          </p:cNvPr>
          <p:cNvCxnSpPr>
            <a:cxnSpLocks/>
          </p:cNvCxnSpPr>
          <p:nvPr/>
        </p:nvCxnSpPr>
        <p:spPr>
          <a:xfrm>
            <a:off x="7744093" y="4829772"/>
            <a:ext cx="467079" cy="1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2">
            <a:extLst>
              <a:ext uri="{FF2B5EF4-FFF2-40B4-BE49-F238E27FC236}">
                <a16:creationId xmlns:a16="http://schemas.microsoft.com/office/drawing/2014/main" id="{4E8AD1E3-CA8F-EEA7-CFCD-CA0066B64814}"/>
              </a:ext>
            </a:extLst>
          </p:cNvPr>
          <p:cNvCxnSpPr>
            <a:cxnSpLocks/>
          </p:cNvCxnSpPr>
          <p:nvPr/>
        </p:nvCxnSpPr>
        <p:spPr>
          <a:xfrm>
            <a:off x="9695992" y="4829773"/>
            <a:ext cx="467079" cy="1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phic 30">
            <a:extLst>
              <a:ext uri="{FF2B5EF4-FFF2-40B4-BE49-F238E27FC236}">
                <a16:creationId xmlns:a16="http://schemas.microsoft.com/office/drawing/2014/main" id="{9EEC2C77-75A9-7B1B-28F2-ECA6B56F80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56861" y="4467368"/>
            <a:ext cx="761243" cy="72481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BE39DFD8-3555-5FF8-CCCB-3274D071D702}"/>
              </a:ext>
            </a:extLst>
          </p:cNvPr>
          <p:cNvSpPr txBox="1"/>
          <p:nvPr/>
        </p:nvSpPr>
        <p:spPr>
          <a:xfrm>
            <a:off x="6214287" y="5904194"/>
            <a:ext cx="1886521" cy="1654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defTabSz="914103"/>
            <a:r>
              <a:rPr lang="en-US" sz="1400" dirty="0">
                <a:solidFill>
                  <a:srgbClr val="000000"/>
                </a:solidFill>
                <a:latin typeface="Trebuchet MS" panose="020B0603020202020204" pitchFamily="34" charset="0"/>
              </a:rPr>
              <a:t>Marginalized district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6A84C81-A15D-5F36-85CC-B376668CE407}"/>
              </a:ext>
            </a:extLst>
          </p:cNvPr>
          <p:cNvSpPr txBox="1"/>
          <p:nvPr/>
        </p:nvSpPr>
        <p:spPr>
          <a:xfrm>
            <a:off x="9887207" y="5876078"/>
            <a:ext cx="1700549" cy="22169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defTabSz="914103"/>
            <a:r>
              <a:rPr lang="en-US" sz="1400" dirty="0">
                <a:solidFill>
                  <a:srgbClr val="000000"/>
                </a:solidFill>
                <a:latin typeface="Trebuchet MS" panose="020B0603020202020204" pitchFamily="34" charset="0"/>
              </a:rPr>
              <a:t>Racist risk predic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1F3077B-2E68-DD42-7FC9-64110F48C38D}"/>
              </a:ext>
            </a:extLst>
          </p:cNvPr>
          <p:cNvSpPr/>
          <p:nvPr/>
        </p:nvSpPr>
        <p:spPr>
          <a:xfrm>
            <a:off x="6176183" y="4303705"/>
            <a:ext cx="5463244" cy="1888355"/>
          </a:xfrm>
          <a:prstGeom prst="rect">
            <a:avLst/>
          </a:prstGeom>
          <a:noFill/>
          <a:ln w="28575">
            <a:solidFill>
              <a:srgbClr val="009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3"/>
            <a:endParaRPr lang="en-US" sz="1799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263D3B1B-75A7-C32B-48FA-DF628B8020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918191" y="4785789"/>
            <a:ext cx="397681" cy="397681"/>
          </a:xfrm>
          <a:prstGeom prst="rect">
            <a:avLst/>
          </a:prstGeom>
        </p:spPr>
      </p:pic>
      <p:sp>
        <p:nvSpPr>
          <p:cNvPr id="36" name="Würfel 10">
            <a:extLst>
              <a:ext uri="{FF2B5EF4-FFF2-40B4-BE49-F238E27FC236}">
                <a16:creationId xmlns:a16="http://schemas.microsoft.com/office/drawing/2014/main" id="{EE2310AB-BD67-7413-9000-5B226D838221}"/>
              </a:ext>
            </a:extLst>
          </p:cNvPr>
          <p:cNvSpPr/>
          <p:nvPr/>
        </p:nvSpPr>
        <p:spPr>
          <a:xfrm>
            <a:off x="8517648" y="4504646"/>
            <a:ext cx="871867" cy="650257"/>
          </a:xfrm>
          <a:prstGeom prst="cube">
            <a:avLst/>
          </a:prstGeom>
          <a:solidFill>
            <a:schemeClr val="tx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03"/>
            <a:endParaRPr lang="en-US" sz="1599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651E4DC-00DF-F0CA-BDB3-1304EFEC7514}"/>
              </a:ext>
            </a:extLst>
          </p:cNvPr>
          <p:cNvSpPr txBox="1"/>
          <p:nvPr/>
        </p:nvSpPr>
        <p:spPr>
          <a:xfrm>
            <a:off x="8125304" y="5415322"/>
            <a:ext cx="1700549" cy="23283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defTabSz="914103"/>
            <a:r>
              <a:rPr lang="en-US" sz="1400" dirty="0">
                <a:solidFill>
                  <a:srgbClr val="000000"/>
                </a:solidFill>
                <a:latin typeface="Trebuchet MS" panose="020B0603020202020204" pitchFamily="34" charset="0"/>
              </a:rPr>
              <a:t>Learning historical patterns and correlations…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08642A31-7C2C-C928-0FDF-3CD53CE4BB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77897" y="4754712"/>
            <a:ext cx="397681" cy="397681"/>
          </a:xfrm>
          <a:prstGeom prst="rect">
            <a:avLst/>
          </a:prstGeom>
        </p:spPr>
      </p:pic>
      <p:sp>
        <p:nvSpPr>
          <p:cNvPr id="39" name="Speech Bubble: Rectangle with Corners Rounded 38">
            <a:extLst>
              <a:ext uri="{FF2B5EF4-FFF2-40B4-BE49-F238E27FC236}">
                <a16:creationId xmlns:a16="http://schemas.microsoft.com/office/drawing/2014/main" id="{39C7EB5F-1198-F7FB-CE24-9012E62D45CA}"/>
              </a:ext>
            </a:extLst>
          </p:cNvPr>
          <p:cNvSpPr/>
          <p:nvPr/>
        </p:nvSpPr>
        <p:spPr>
          <a:xfrm>
            <a:off x="6429807" y="5264413"/>
            <a:ext cx="1455485" cy="437299"/>
          </a:xfrm>
          <a:prstGeom prst="wedgeRoundRectCallout">
            <a:avLst>
              <a:gd name="adj1" fmla="val -36230"/>
              <a:gd name="adj2" fmla="val 85073"/>
              <a:gd name="adj3" fmla="val 16667"/>
            </a:avLst>
          </a:prstGeom>
          <a:solidFill>
            <a:srgbClr val="009D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3"/>
            <a:r>
              <a:rPr lang="en-US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“We have higher crime rates.”</a:t>
            </a:r>
          </a:p>
        </p:txBody>
      </p:sp>
      <p:sp>
        <p:nvSpPr>
          <p:cNvPr id="40" name="Speech Bubble: Rectangle with Corners Rounded 39">
            <a:extLst>
              <a:ext uri="{FF2B5EF4-FFF2-40B4-BE49-F238E27FC236}">
                <a16:creationId xmlns:a16="http://schemas.microsoft.com/office/drawing/2014/main" id="{8C9F58D8-6CE4-594C-1CF0-E972FB1BEB1C}"/>
              </a:ext>
            </a:extLst>
          </p:cNvPr>
          <p:cNvSpPr/>
          <p:nvPr/>
        </p:nvSpPr>
        <p:spPr>
          <a:xfrm>
            <a:off x="9961699" y="5412466"/>
            <a:ext cx="1551567" cy="437299"/>
          </a:xfrm>
          <a:prstGeom prst="wedgeRoundRectCallout">
            <a:avLst>
              <a:gd name="adj1" fmla="val -4086"/>
              <a:gd name="adj2" fmla="val -87985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3"/>
            <a:r>
              <a:rPr lang="en-US" sz="1200" dirty="0">
                <a:solidFill>
                  <a:srgbClr val="FFFFFF"/>
                </a:solidFill>
                <a:latin typeface="Trebuchet MS" panose="020B0603020202020204" pitchFamily="34" charset="0"/>
              </a:rPr>
              <a:t>“Black people are criminals!”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C66B6284-859A-2918-C216-B5F3EF246B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800" y="6584720"/>
            <a:ext cx="777407" cy="139606"/>
          </a:xfrm>
        </p:spPr>
        <p:txBody>
          <a:bodyPr/>
          <a:lstStyle/>
          <a:p>
            <a:fld id="{0FA11501-54FB-44C9-8F1D-FF2CBD42F4F1}" type="datetime1">
              <a:rPr lang="de-DE" smtClean="0"/>
              <a:t>14.03.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80C5B5-0389-2C6E-9D3C-534306C252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1550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E1D47-AD15-91AF-9518-4988A002E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552560" cy="638175"/>
          </a:xfrm>
        </p:spPr>
        <p:txBody>
          <a:bodyPr/>
          <a:lstStyle/>
          <a:p>
            <a:r>
              <a:rPr lang="en-US" dirty="0">
                <a:latin typeface="Trebuchet MS"/>
                <a:cs typeface="Arial"/>
              </a:rPr>
              <a:t>If we embed values in AI, which should it be? Who is to say?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157AD2-4868-927E-D366-CEDA955F0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C21CD-1047-4087-A1A5-B5D664DBCF88}" type="datetime1">
              <a:rPr lang="de-DE" smtClean="0"/>
              <a:t>14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86432B-3A21-5BE2-3C8D-5DDAB2AC8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34BB73-0177-E70F-7BA9-CB0856D58DA0}"/>
              </a:ext>
            </a:extLst>
          </p:cNvPr>
          <p:cNvSpPr txBox="1"/>
          <p:nvPr/>
        </p:nvSpPr>
        <p:spPr>
          <a:xfrm>
            <a:off x="949543" y="1512824"/>
            <a:ext cx="4600702" cy="340545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 defTabSz="914103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</a:rPr>
              <a:t>Should developers implement their own world views?</a:t>
            </a:r>
          </a:p>
        </p:txBody>
      </p:sp>
      <p:pic>
        <p:nvPicPr>
          <p:cNvPr id="6" name="Picture 2" descr="Image">
            <a:extLst>
              <a:ext uri="{FF2B5EF4-FFF2-40B4-BE49-F238E27FC236}">
                <a16:creationId xmlns:a16="http://schemas.microsoft.com/office/drawing/2014/main" id="{D047D9A2-E693-DC44-313D-5C74871512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00" y="2062141"/>
            <a:ext cx="5808000" cy="38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D56700C-C3B6-9074-D3A0-9797678BCEA5}"/>
              </a:ext>
            </a:extLst>
          </p:cNvPr>
          <p:cNvSpPr txBox="1"/>
          <p:nvPr/>
        </p:nvSpPr>
        <p:spPr>
          <a:xfrm>
            <a:off x="288000" y="5811176"/>
            <a:ext cx="335894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03"/>
            <a:r>
              <a:rPr lang="en-US" sz="800" i="1" dirty="0">
                <a:solidFill>
                  <a:srgbClr val="000000"/>
                </a:solidFill>
                <a:latin typeface="Trebuchet MS" panose="020B0603020202020204" pitchFamily="34" charset="0"/>
              </a:rPr>
              <a:t>https://trackingai.org/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4A9FC2B-E29C-DD03-A1C3-21EBE34400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6891" y="2112812"/>
            <a:ext cx="4330077" cy="37281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D743125-3BCB-2539-A9F4-9BF4C85A0825}"/>
              </a:ext>
            </a:extLst>
          </p:cNvPr>
          <p:cNvSpPr txBox="1"/>
          <p:nvPr/>
        </p:nvSpPr>
        <p:spPr>
          <a:xfrm>
            <a:off x="6561579" y="1512824"/>
            <a:ext cx="4600702" cy="340545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ctr" defTabSz="914103">
              <a:defRPr sz="1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What if fairness interventions overshoot the mark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FE611F-0DC3-DAAB-1F92-9629D5480D38}"/>
              </a:ext>
            </a:extLst>
          </p:cNvPr>
          <p:cNvSpPr txBox="1"/>
          <p:nvPr/>
        </p:nvSpPr>
        <p:spPr>
          <a:xfrm>
            <a:off x="6696891" y="5811176"/>
            <a:ext cx="43300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03"/>
            <a:r>
              <a:rPr lang="en-US" sz="800" i="1" dirty="0">
                <a:solidFill>
                  <a:srgbClr val="000000"/>
                </a:solidFill>
                <a:latin typeface="Trebuchet MS" panose="020B0603020202020204" pitchFamily="34" charset="0"/>
              </a:rPr>
              <a:t>https://www.theguardian.com/technology/2024/feb/22/google-pauses-ai-generated-images-of-people-after-ethnicity-criticism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892356C-1D51-313B-90EE-32B5ED8DF5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6556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E1D47-AD15-91AF-9518-4988A002E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, confusion matrix, and fairness metric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157AD2-4868-927E-D366-CEDA955F0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C88E9-DBDB-4CB9-BB63-13537B3BADC8}" type="datetime1">
              <a:rPr lang="de-DE" smtClean="0"/>
              <a:t>14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86432B-3A21-5BE2-3C8D-5DDAB2AC8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5" name="Table 13">
            <a:extLst>
              <a:ext uri="{FF2B5EF4-FFF2-40B4-BE49-F238E27FC236}">
                <a16:creationId xmlns:a16="http://schemas.microsoft.com/office/drawing/2014/main" id="{E7C5689E-2A7B-A50D-3BD8-372728E94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11483"/>
              </p:ext>
            </p:extLst>
          </p:nvPr>
        </p:nvGraphicFramePr>
        <p:xfrm>
          <a:off x="3590303" y="1447675"/>
          <a:ext cx="5032997" cy="155685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93340">
                  <a:extLst>
                    <a:ext uri="{9D8B030D-6E8A-4147-A177-3AD203B41FA5}">
                      <a16:colId xmlns:a16="http://schemas.microsoft.com/office/drawing/2014/main" val="2524140628"/>
                    </a:ext>
                  </a:extLst>
                </a:gridCol>
                <a:gridCol w="1894025">
                  <a:extLst>
                    <a:ext uri="{9D8B030D-6E8A-4147-A177-3AD203B41FA5}">
                      <a16:colId xmlns:a16="http://schemas.microsoft.com/office/drawing/2014/main" val="610324500"/>
                    </a:ext>
                  </a:extLst>
                </a:gridCol>
                <a:gridCol w="1845632">
                  <a:extLst>
                    <a:ext uri="{9D8B030D-6E8A-4147-A177-3AD203B41FA5}">
                      <a16:colId xmlns:a16="http://schemas.microsoft.com/office/drawing/2014/main" val="605475338"/>
                    </a:ext>
                  </a:extLst>
                </a:gridCol>
              </a:tblGrid>
              <a:tr h="334709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214154" marR="214154" marT="107076" marB="107076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Positive</a:t>
                      </a:r>
                    </a:p>
                  </a:txBody>
                  <a:tcPr marL="214154" marR="214154" marT="107076" marB="107076" anchor="ctr">
                    <a:solidFill>
                      <a:srgbClr val="009D6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Negative</a:t>
                      </a:r>
                    </a:p>
                  </a:txBody>
                  <a:tcPr marL="214154" marR="214154" marT="107076" marB="107076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672907"/>
                  </a:ext>
                </a:extLst>
              </a:tr>
              <a:tr h="512912"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Positive</a:t>
                      </a:r>
                    </a:p>
                  </a:txBody>
                  <a:tcPr marL="214154" marR="214154" marT="107076" marB="107076" anchor="ctr">
                    <a:solidFill>
                      <a:srgbClr val="009D6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rue Positive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(TP)</a:t>
                      </a:r>
                    </a:p>
                  </a:txBody>
                  <a:tcPr marL="214154" marR="214154" marT="107076" marB="107076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alse Positive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(FP)</a:t>
                      </a:r>
                    </a:p>
                  </a:txBody>
                  <a:tcPr marL="214154" marR="214154" marT="107076" marB="107076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536150"/>
                  </a:ext>
                </a:extLst>
              </a:tr>
              <a:tr h="512912">
                <a:tc>
                  <a:txBody>
                    <a:bodyPr/>
                    <a:lstStyle/>
                    <a:p>
                      <a:pPr marL="0" marR="0" lvl="0" indent="0" algn="l" defTabSz="685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Negative</a:t>
                      </a:r>
                    </a:p>
                  </a:txBody>
                  <a:tcPr marL="214154" marR="214154" marT="107076" marB="107076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alse Negative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(FN)</a:t>
                      </a:r>
                    </a:p>
                  </a:txBody>
                  <a:tcPr marL="214154" marR="214154" marT="107076" marB="107076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rue Negative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(TN)</a:t>
                      </a:r>
                    </a:p>
                  </a:txBody>
                  <a:tcPr marL="214154" marR="214154" marT="107076" marB="107076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44922"/>
                  </a:ext>
                </a:extLst>
              </a:tr>
            </a:tbl>
          </a:graphicData>
        </a:graphic>
      </p:graphicFrame>
      <p:sp>
        <p:nvSpPr>
          <p:cNvPr id="6" name="Textfeld 4">
            <a:extLst>
              <a:ext uri="{FF2B5EF4-FFF2-40B4-BE49-F238E27FC236}">
                <a16:creationId xmlns:a16="http://schemas.microsoft.com/office/drawing/2014/main" id="{E980B56C-6D77-50D1-065B-36D0EE64E947}"/>
              </a:ext>
            </a:extLst>
          </p:cNvPr>
          <p:cNvSpPr txBox="1"/>
          <p:nvPr/>
        </p:nvSpPr>
        <p:spPr>
          <a:xfrm rot="16200000">
            <a:off x="2792923" y="2234432"/>
            <a:ext cx="1486121" cy="34896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dirty="0" err="1">
                <a:latin typeface="Trebuchet MS" panose="020B0603020202020204" pitchFamily="34" charset="0"/>
              </a:rPr>
              <a:t>Predictions</a:t>
            </a:r>
            <a:r>
              <a:rPr lang="de-DE" sz="1200" dirty="0">
                <a:latin typeface="Trebuchet MS" panose="020B0603020202020204" pitchFamily="34" charset="0"/>
              </a:rPr>
              <a:t> </a:t>
            </a:r>
            <a:r>
              <a:rPr lang="en-US" sz="1200" dirty="0">
                <a:latin typeface="Trebuchet MS" panose="020B0603020202020204" pitchFamily="34" charset="0"/>
              </a:rPr>
              <a:t>Ŷ</a:t>
            </a:r>
            <a:endParaRPr lang="de-DE" sz="1200" dirty="0">
              <a:latin typeface="Trebuchet MS" panose="020B0603020202020204" pitchFamily="34" charset="0"/>
            </a:endParaRPr>
          </a:p>
        </p:txBody>
      </p:sp>
      <p:sp>
        <p:nvSpPr>
          <p:cNvPr id="7" name="Textfeld 7">
            <a:extLst>
              <a:ext uri="{FF2B5EF4-FFF2-40B4-BE49-F238E27FC236}">
                <a16:creationId xmlns:a16="http://schemas.microsoft.com/office/drawing/2014/main" id="{8535614B-33EF-F2E6-2594-A168F077CFE0}"/>
              </a:ext>
            </a:extLst>
          </p:cNvPr>
          <p:cNvSpPr txBox="1"/>
          <p:nvPr/>
        </p:nvSpPr>
        <p:spPr>
          <a:xfrm>
            <a:off x="4821780" y="1270268"/>
            <a:ext cx="3915820" cy="30406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dirty="0">
                <a:latin typeface="Trebuchet MS" panose="020B0603020202020204" pitchFamily="34" charset="0"/>
              </a:rPr>
              <a:t>Ground Truth Y</a:t>
            </a:r>
          </a:p>
        </p:txBody>
      </p:sp>
      <p:sp>
        <p:nvSpPr>
          <p:cNvPr id="8" name="Oval 46">
            <a:extLst>
              <a:ext uri="{FF2B5EF4-FFF2-40B4-BE49-F238E27FC236}">
                <a16:creationId xmlns:a16="http://schemas.microsoft.com/office/drawing/2014/main" id="{AEFD6D94-8CB0-C984-5176-C89BF5E912BB}"/>
              </a:ext>
            </a:extLst>
          </p:cNvPr>
          <p:cNvSpPr/>
          <p:nvPr/>
        </p:nvSpPr>
        <p:spPr>
          <a:xfrm>
            <a:off x="3603511" y="1843996"/>
            <a:ext cx="5019789" cy="558998"/>
          </a:xfrm>
          <a:prstGeom prst="ellipse">
            <a:avLst/>
          </a:prstGeom>
          <a:noFill/>
          <a:ln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2"/>
              </a:solidFill>
              <a:latin typeface="Trebuchet MS" panose="020B0603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297948B-1F8E-9173-C5FF-D5F68EC37A9F}"/>
                  </a:ext>
                </a:extLst>
              </p:cNvPr>
              <p:cNvSpPr txBox="1"/>
              <p:nvPr/>
            </p:nvSpPr>
            <p:spPr>
              <a:xfrm>
                <a:off x="550800" y="3606800"/>
                <a:ext cx="5545200" cy="10513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lnSpc>
                    <a:spcPct val="150000"/>
                  </a:lnSpc>
                  <a:buNone/>
                </a:pPr>
                <a:r>
                  <a:rPr lang="en-US" sz="1200" b="1" dirty="0">
                    <a:solidFill>
                      <a:schemeClr val="tx2"/>
                    </a:solidFill>
                    <a:latin typeface="Trebuchet MS" panose="020B0603020202020204" pitchFamily="34" charset="0"/>
                  </a:rPr>
                  <a:t>Demographic parity</a:t>
                </a:r>
                <a:r>
                  <a:rPr lang="en-US" sz="1200" b="1" dirty="0">
                    <a:latin typeface="Trebuchet MS" panose="020B0603020202020204" pitchFamily="34" charset="0"/>
                  </a:rPr>
                  <a:t>: </a:t>
                </a:r>
                <a:r>
                  <a:rPr lang="en-US" sz="1200" dirty="0">
                    <a:latin typeface="Trebuchet MS" panose="020B0603020202020204" pitchFamily="34" charset="0"/>
                  </a:rPr>
                  <a:t>“Acceptance rate is equal for all sensitive groups”</a:t>
                </a: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Pr</m:t>
                          </m:r>
                        </m:fName>
                        <m:e>
                          <m:d>
                            <m:dPr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Ŷ=1</m:t>
                              </m:r>
                            </m:e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</m:e>
                      </m:func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sz="1200" b="0" i="0" smtClean="0">
                          <a:latin typeface="Cambria Math" panose="02040503050406030204" pitchFamily="18" charset="0"/>
                        </a:rPr>
                        <m:t>Pr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⁡(Ŷ=1|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200" dirty="0">
                  <a:latin typeface="Trebuchet MS" panose="020B0603020202020204" pitchFamily="34" charset="0"/>
                </a:endParaRPr>
              </a:p>
              <a:p>
                <a:pPr>
                  <a:lnSpc>
                    <a:spcPct val="100000"/>
                  </a:lnSpc>
                </a:pPr>
                <a:r>
                  <a:rPr lang="en-US" sz="1200" dirty="0">
                    <a:latin typeface="Trebuchet MS" panose="020B0603020202020204" pitchFamily="34" charset="0"/>
                  </a:rPr>
                  <a:t>Example: </a:t>
                </a:r>
                <a:r>
                  <a:rPr lang="en-US" sz="1200" b="1" dirty="0">
                    <a:latin typeface="Trebuchet MS" panose="020B0603020202020204" pitchFamily="34" charset="0"/>
                  </a:rPr>
                  <a:t>60% females and 40% males apply </a:t>
                </a:r>
                <a:r>
                  <a:rPr lang="en-US" sz="1200" dirty="0">
                    <a:latin typeface="Trebuchet MS" panose="020B0603020202020204" pitchFamily="34" charset="0"/>
                  </a:rPr>
                  <a:t>to university</a:t>
                </a:r>
              </a:p>
              <a:p>
                <a:pPr>
                  <a:lnSpc>
                    <a:spcPct val="100000"/>
                  </a:lnSpc>
                  <a:buFont typeface="Wingdings" panose="05000000000000000000" pitchFamily="2" charset="2"/>
                  <a:buChar char="Ø"/>
                </a:pPr>
                <a:r>
                  <a:rPr lang="en-US" sz="1200" dirty="0">
                    <a:latin typeface="Trebuchet MS" panose="020B0603020202020204" pitchFamily="34" charset="0"/>
                  </a:rPr>
                  <a:t>The pool of admitted students should include </a:t>
                </a:r>
                <a:r>
                  <a:rPr lang="en-US" sz="1200" b="1" dirty="0">
                    <a:latin typeface="Trebuchet MS" panose="020B0603020202020204" pitchFamily="34" charset="0"/>
                  </a:rPr>
                  <a:t>60% females and 40% males</a:t>
                </a: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297948B-1F8E-9173-C5FF-D5F68EC37A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800" y="3606800"/>
                <a:ext cx="5545200" cy="1051378"/>
              </a:xfrm>
              <a:prstGeom prst="rect">
                <a:avLst/>
              </a:prstGeom>
              <a:blipFill>
                <a:blip r:embed="rId2"/>
                <a:stretch>
                  <a:fillRect b="-40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9" name="Group 48">
            <a:extLst>
              <a:ext uri="{FF2B5EF4-FFF2-40B4-BE49-F238E27FC236}">
                <a16:creationId xmlns:a16="http://schemas.microsoft.com/office/drawing/2014/main" id="{25672F5E-EFE3-2D2E-0382-E251467DBE9C}"/>
              </a:ext>
            </a:extLst>
          </p:cNvPr>
          <p:cNvGrpSpPr/>
          <p:nvPr/>
        </p:nvGrpSpPr>
        <p:grpSpPr>
          <a:xfrm>
            <a:off x="1362851" y="4777847"/>
            <a:ext cx="3921099" cy="1768961"/>
            <a:chOff x="899830" y="4600047"/>
            <a:chExt cx="3921099" cy="176896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60489EC-BEB4-5929-7B93-3DFBBE862303}"/>
                </a:ext>
              </a:extLst>
            </p:cNvPr>
            <p:cNvGrpSpPr/>
            <p:nvPr/>
          </p:nvGrpSpPr>
          <p:grpSpPr>
            <a:xfrm>
              <a:off x="899830" y="4648621"/>
              <a:ext cx="2511549" cy="1720387"/>
              <a:chOff x="1464578" y="2162084"/>
              <a:chExt cx="2777563" cy="1902603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D2A35BDB-7E69-AA84-E413-EB0765F8B53C}"/>
                  </a:ext>
                </a:extLst>
              </p:cNvPr>
              <p:cNvGrpSpPr/>
              <p:nvPr/>
            </p:nvGrpSpPr>
            <p:grpSpPr>
              <a:xfrm>
                <a:off x="1464578" y="2212978"/>
                <a:ext cx="2777563" cy="1851709"/>
                <a:chOff x="1328270" y="1493243"/>
                <a:chExt cx="2777563" cy="1851709"/>
              </a:xfrm>
            </p:grpSpPr>
            <p:graphicFrame>
              <p:nvGraphicFramePr>
                <p:cNvPr id="33" name="Chart 32">
                  <a:extLst>
                    <a:ext uri="{FF2B5EF4-FFF2-40B4-BE49-F238E27FC236}">
                      <a16:creationId xmlns:a16="http://schemas.microsoft.com/office/drawing/2014/main" id="{C1743D3E-7FAC-5993-52BD-DEAA009BE225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181133862"/>
                    </p:ext>
                  </p:extLst>
                </p:nvPr>
              </p:nvGraphicFramePr>
              <p:xfrm>
                <a:off x="1328270" y="1493243"/>
                <a:ext cx="2777563" cy="185170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pic>
              <p:nvPicPr>
                <p:cNvPr id="34" name="Graphic 33">
                  <a:extLst>
                    <a:ext uri="{FF2B5EF4-FFF2-40B4-BE49-F238E27FC236}">
                      <a16:creationId xmlns:a16="http://schemas.microsoft.com/office/drawing/2014/main" id="{A3BA0408-08E6-2D97-C7B1-6F0E681965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rcRect/>
                <a:stretch/>
              </p:blipFill>
              <p:spPr>
                <a:xfrm>
                  <a:off x="2834302" y="2062691"/>
                  <a:ext cx="476208" cy="476208"/>
                </a:xfrm>
                <a:prstGeom prst="rect">
                  <a:avLst/>
                </a:prstGeom>
              </p:spPr>
            </p:pic>
            <p:pic>
              <p:nvPicPr>
                <p:cNvPr id="35" name="Graphic 34">
                  <a:extLst>
                    <a:ext uri="{FF2B5EF4-FFF2-40B4-BE49-F238E27FC236}">
                      <a16:creationId xmlns:a16="http://schemas.microsoft.com/office/drawing/2014/main" id="{59764757-2A6A-50B8-BC2B-F1397CAB729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rcRect/>
                <a:stretch/>
              </p:blipFill>
              <p:spPr>
                <a:xfrm>
                  <a:off x="2202561" y="2323718"/>
                  <a:ext cx="476208" cy="476208"/>
                </a:xfrm>
                <a:prstGeom prst="rect">
                  <a:avLst/>
                </a:prstGeom>
              </p:spPr>
            </p:pic>
          </p:grp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B97A0374-E035-93DA-E639-FD410192BF27}"/>
                  </a:ext>
                </a:extLst>
              </p:cNvPr>
              <p:cNvSpPr txBox="1"/>
              <p:nvPr/>
            </p:nvSpPr>
            <p:spPr>
              <a:xfrm>
                <a:off x="1998167" y="2162084"/>
                <a:ext cx="1710382" cy="19482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Pool </a:t>
                </a:r>
                <a:r>
                  <a:rPr kumimoji="0" lang="de-DE" sz="105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of</a:t>
                </a:r>
                <a:r>
                  <a:rPr kumimoji="0" lang="de-DE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  <a:r>
                  <a:rPr kumimoji="0" lang="de-DE" sz="105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applicants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E29AE48-68C1-AEB1-D4F5-7FB550F5B53B}"/>
                </a:ext>
              </a:extLst>
            </p:cNvPr>
            <p:cNvGrpSpPr/>
            <p:nvPr/>
          </p:nvGrpSpPr>
          <p:grpSpPr>
            <a:xfrm>
              <a:off x="3408464" y="4659508"/>
              <a:ext cx="1405679" cy="937119"/>
              <a:chOff x="4051113" y="2212978"/>
              <a:chExt cx="1554562" cy="1036375"/>
            </a:xfrm>
          </p:grpSpPr>
          <p:graphicFrame>
            <p:nvGraphicFramePr>
              <p:cNvPr id="37" name="Chart 36">
                <a:extLst>
                  <a:ext uri="{FF2B5EF4-FFF2-40B4-BE49-F238E27FC236}">
                    <a16:creationId xmlns:a16="http://schemas.microsoft.com/office/drawing/2014/main" id="{65973849-BB92-0453-1D6F-0A98A5078F0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577033448"/>
                  </p:ext>
                </p:extLst>
              </p:nvPr>
            </p:nvGraphicFramePr>
            <p:xfrm>
              <a:off x="4051113" y="2212978"/>
              <a:ext cx="1554562" cy="103637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pic>
            <p:nvPicPr>
              <p:cNvPr id="38" name="Graphic 37">
                <a:extLst>
                  <a:ext uri="{FF2B5EF4-FFF2-40B4-BE49-F238E27FC236}">
                    <a16:creationId xmlns:a16="http://schemas.microsoft.com/office/drawing/2014/main" id="{80293B0C-453B-1E86-9091-831753D454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4866601" y="2537522"/>
                <a:ext cx="242404" cy="242404"/>
              </a:xfrm>
              <a:prstGeom prst="rect">
                <a:avLst/>
              </a:prstGeom>
            </p:spPr>
          </p:pic>
          <p:pic>
            <p:nvPicPr>
              <p:cNvPr id="39" name="Graphic 38">
                <a:extLst>
                  <a:ext uri="{FF2B5EF4-FFF2-40B4-BE49-F238E27FC236}">
                    <a16:creationId xmlns:a16="http://schemas.microsoft.com/office/drawing/2014/main" id="{F8631E91-D437-94AD-0DCD-0EB9DFDC80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4560761" y="2648147"/>
                <a:ext cx="242405" cy="242405"/>
              </a:xfrm>
              <a:prstGeom prst="rect">
                <a:avLst/>
              </a:prstGeom>
            </p:spPr>
          </p:pic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C9AA73E2-4A4F-7654-7A7C-A7394A05DE1A}"/>
                </a:ext>
              </a:extLst>
            </p:cNvPr>
            <p:cNvGrpSpPr/>
            <p:nvPr/>
          </p:nvGrpSpPr>
          <p:grpSpPr>
            <a:xfrm>
              <a:off x="3415250" y="5383781"/>
              <a:ext cx="1405679" cy="937119"/>
              <a:chOff x="4051113" y="2212978"/>
              <a:chExt cx="1554562" cy="1036375"/>
            </a:xfrm>
          </p:grpSpPr>
          <p:graphicFrame>
            <p:nvGraphicFramePr>
              <p:cNvPr id="41" name="Chart 40">
                <a:extLst>
                  <a:ext uri="{FF2B5EF4-FFF2-40B4-BE49-F238E27FC236}">
                    <a16:creationId xmlns:a16="http://schemas.microsoft.com/office/drawing/2014/main" id="{5515AD76-6C92-1EF4-2DFF-ADCF5D1F9AC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91883198"/>
                  </p:ext>
                </p:extLst>
              </p:nvPr>
            </p:nvGraphicFramePr>
            <p:xfrm>
              <a:off x="4051113" y="2212978"/>
              <a:ext cx="1554562" cy="103637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  <p:pic>
            <p:nvPicPr>
              <p:cNvPr id="42" name="Graphic 41">
                <a:extLst>
                  <a:ext uri="{FF2B5EF4-FFF2-40B4-BE49-F238E27FC236}">
                    <a16:creationId xmlns:a16="http://schemas.microsoft.com/office/drawing/2014/main" id="{EF8876B9-5E25-4F2A-C38D-7EFC20A6EE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4866601" y="2537522"/>
                <a:ext cx="242404" cy="242404"/>
              </a:xfrm>
              <a:prstGeom prst="rect">
                <a:avLst/>
              </a:prstGeom>
            </p:spPr>
          </p:pic>
          <p:pic>
            <p:nvPicPr>
              <p:cNvPr id="43" name="Graphic 42">
                <a:extLst>
                  <a:ext uri="{FF2B5EF4-FFF2-40B4-BE49-F238E27FC236}">
                    <a16:creationId xmlns:a16="http://schemas.microsoft.com/office/drawing/2014/main" id="{21D33927-600A-A4AC-F020-2D936EA7D3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4560761" y="2648147"/>
                <a:ext cx="242405" cy="242405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2B78841-CABA-7184-49A5-CDBE30C9BBC2}"/>
                </a:ext>
              </a:extLst>
            </p:cNvPr>
            <p:cNvGrpSpPr/>
            <p:nvPr/>
          </p:nvGrpSpPr>
          <p:grpSpPr>
            <a:xfrm>
              <a:off x="1360059" y="4600047"/>
              <a:ext cx="3187597" cy="1686767"/>
              <a:chOff x="1566138" y="2293155"/>
              <a:chExt cx="2643912" cy="1399067"/>
            </a:xfrm>
          </p:grpSpPr>
          <p:cxnSp>
            <p:nvCxnSpPr>
              <p:cNvPr id="45" name="Straight Arrow Connector 44">
                <a:extLst>
                  <a:ext uri="{FF2B5EF4-FFF2-40B4-BE49-F238E27FC236}">
                    <a16:creationId xmlns:a16="http://schemas.microsoft.com/office/drawing/2014/main" id="{C4BC6492-B3D6-7601-DAAC-4F7FCCF1B6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64968" y="3072040"/>
                <a:ext cx="400193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  <a:tailEnd type="triangle"/>
              </a:ln>
              <a:effectLst/>
            </p:spPr>
          </p:cxnSp>
          <p:pic>
            <p:nvPicPr>
              <p:cNvPr id="46" name="Graphic 45">
                <a:extLst>
                  <a:ext uri="{FF2B5EF4-FFF2-40B4-BE49-F238E27FC236}">
                    <a16:creationId xmlns:a16="http://schemas.microsoft.com/office/drawing/2014/main" id="{550429F5-8AEC-B5BE-DB7F-325925A7A8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/>
              <a:stretch/>
            </p:blipFill>
            <p:spPr>
              <a:xfrm>
                <a:off x="3279171" y="2594209"/>
                <a:ext cx="294095" cy="294095"/>
              </a:xfrm>
              <a:prstGeom prst="rect">
                <a:avLst/>
              </a:prstGeom>
            </p:spPr>
          </p:pic>
          <p:pic>
            <p:nvPicPr>
              <p:cNvPr id="47" name="Graphic 46">
                <a:extLst>
                  <a:ext uri="{FF2B5EF4-FFF2-40B4-BE49-F238E27FC236}">
                    <a16:creationId xmlns:a16="http://schemas.microsoft.com/office/drawing/2014/main" id="{39AEBF7B-C682-751F-0C45-740ED9B3C7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/>
              <a:stretch/>
            </p:blipFill>
            <p:spPr>
              <a:xfrm>
                <a:off x="3294068" y="3207873"/>
                <a:ext cx="264301" cy="264301"/>
              </a:xfrm>
              <a:prstGeom prst="rect">
                <a:avLst/>
              </a:prstGeom>
            </p:spPr>
          </p:pic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F8268D5F-7AA9-9B03-F98E-143C80686389}"/>
                  </a:ext>
                </a:extLst>
              </p:cNvPr>
              <p:cNvSpPr/>
              <p:nvPr/>
            </p:nvSpPr>
            <p:spPr>
              <a:xfrm>
                <a:off x="1566138" y="2293155"/>
                <a:ext cx="2643912" cy="1399067"/>
              </a:xfrm>
              <a:prstGeom prst="rect">
                <a:avLst/>
              </a:prstGeom>
              <a:noFill/>
              <a:ln w="38100" cap="flat" cmpd="sng" algn="ctr">
                <a:solidFill>
                  <a:srgbClr val="D9D9D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51" name="Oval 46">
            <a:extLst>
              <a:ext uri="{FF2B5EF4-FFF2-40B4-BE49-F238E27FC236}">
                <a16:creationId xmlns:a16="http://schemas.microsoft.com/office/drawing/2014/main" id="{F512015A-F05C-F003-EDD3-034A7575EAE9}"/>
              </a:ext>
            </a:extLst>
          </p:cNvPr>
          <p:cNvSpPr/>
          <p:nvPr/>
        </p:nvSpPr>
        <p:spPr>
          <a:xfrm>
            <a:off x="4881395" y="1459649"/>
            <a:ext cx="1880856" cy="1527345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Trebuchet MS" panose="020B0603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2397911-E6DB-A012-1A99-AC13B22A1793}"/>
                  </a:ext>
                </a:extLst>
              </p:cNvPr>
              <p:cNvSpPr txBox="1"/>
              <p:nvPr/>
            </p:nvSpPr>
            <p:spPr>
              <a:xfrm>
                <a:off x="6109205" y="3606800"/>
                <a:ext cx="5545200" cy="10513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  <a:spcBef>
                    <a:spcPts val="1800"/>
                  </a:spcBef>
                </a:pPr>
                <a:r>
                  <a:rPr lang="en-US" sz="1200" b="1" dirty="0">
                    <a:solidFill>
                      <a:schemeClr val="accent1">
                        <a:lumMod val="25000"/>
                      </a:schemeClr>
                    </a:solidFill>
                    <a:latin typeface="Trebuchet MS" panose="020B0603020202020204" pitchFamily="34" charset="0"/>
                  </a:rPr>
                  <a:t>Equal opportunity</a:t>
                </a:r>
                <a:r>
                  <a:rPr lang="en-US" sz="1200" b="1" dirty="0">
                    <a:latin typeface="Trebuchet MS" panose="020B0603020202020204" pitchFamily="34" charset="0"/>
                  </a:rPr>
                  <a:t>: </a:t>
                </a:r>
                <a:r>
                  <a:rPr lang="en-US" sz="1200" dirty="0">
                    <a:latin typeface="Trebuchet MS" panose="020B0603020202020204" pitchFamily="34" charset="0"/>
                  </a:rPr>
                  <a:t>“True positive rates are equal for all sensitive groups”</a:t>
                </a:r>
              </a:p>
              <a:p>
                <a:pPr>
                  <a:lnSpc>
                    <a:spcPct val="150000"/>
                  </a:lnSpc>
                  <a:spcBef>
                    <a:spcPts val="18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de-DE" sz="12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Pr</m:t>
                          </m:r>
                        </m:fName>
                        <m:e>
                          <m:d>
                            <m:d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Ŷ=1</m:t>
                              </m:r>
                            </m:e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=1,</m:t>
                              </m:r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</m:e>
                      </m:func>
                      <m:r>
                        <a:rPr lang="de-DE" sz="12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sz="1200">
                          <a:latin typeface="Cambria Math" panose="02040503050406030204" pitchFamily="18" charset="0"/>
                        </a:rPr>
                        <m:t>Pr</m:t>
                      </m:r>
                      <m:r>
                        <a:rPr lang="de-DE" sz="1200" i="1">
                          <a:latin typeface="Cambria Math" panose="02040503050406030204" pitchFamily="18" charset="0"/>
                        </a:rPr>
                        <m:t>⁡(Ŷ=1|</m:t>
                      </m:r>
                      <m:r>
                        <a:rPr lang="de-DE" sz="12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de-DE" sz="1200" i="1">
                          <a:latin typeface="Cambria Math" panose="02040503050406030204" pitchFamily="18" charset="0"/>
                        </a:rPr>
                        <m:t>=1,</m:t>
                      </m:r>
                      <m:r>
                        <a:rPr lang="de-DE" sz="1200" i="1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de-DE" sz="12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200" i="1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sz="12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200" dirty="0">
                  <a:latin typeface="Trebuchet MS" panose="020B0603020202020204" pitchFamily="34" charset="0"/>
                </a:endParaRPr>
              </a:p>
              <a:p>
                <a:r>
                  <a:rPr lang="en-US" sz="1200" dirty="0">
                    <a:latin typeface="Trebuchet MS" panose="020B0603020202020204" pitchFamily="34" charset="0"/>
                  </a:rPr>
                  <a:t>Example: Of </a:t>
                </a:r>
                <a:r>
                  <a:rPr lang="en-US" sz="1200" b="1" dirty="0">
                    <a:latin typeface="Trebuchet MS" panose="020B0603020202020204" pitchFamily="34" charset="0"/>
                  </a:rPr>
                  <a:t>20 qualified female applicants</a:t>
                </a:r>
                <a:r>
                  <a:rPr lang="en-US" sz="1200" dirty="0">
                    <a:latin typeface="Trebuchet MS" panose="020B0603020202020204" pitchFamily="34" charset="0"/>
                  </a:rPr>
                  <a:t>, we </a:t>
                </a:r>
                <a:r>
                  <a:rPr lang="en-US" sz="1200" b="1" dirty="0">
                    <a:latin typeface="Trebuchet MS" panose="020B0603020202020204" pitchFamily="34" charset="0"/>
                  </a:rPr>
                  <a:t>correctly accepted 15</a:t>
                </a:r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sz="1200" dirty="0">
                    <a:latin typeface="Trebuchet MS" panose="020B0603020202020204" pitchFamily="34" charset="0"/>
                  </a:rPr>
                  <a:t>The </a:t>
                </a:r>
                <a:r>
                  <a:rPr lang="en-US" sz="1200" b="1" dirty="0">
                    <a:latin typeface="Trebuchet MS" panose="020B0603020202020204" pitchFamily="34" charset="0"/>
                  </a:rPr>
                  <a:t>true positive rate of ¾ </a:t>
                </a:r>
                <a:r>
                  <a:rPr lang="en-US" sz="1200" dirty="0">
                    <a:latin typeface="Trebuchet MS" panose="020B0603020202020204" pitchFamily="34" charset="0"/>
                  </a:rPr>
                  <a:t>should also apply to male applicants</a:t>
                </a:r>
              </a:p>
            </p:txBody>
          </p:sp>
        </mc:Choice>
        <mc:Fallback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2397911-E6DB-A012-1A99-AC13B22A1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09205" y="3606800"/>
                <a:ext cx="5545200" cy="1051378"/>
              </a:xfrm>
              <a:prstGeom prst="rect">
                <a:avLst/>
              </a:prstGeom>
              <a:blipFill>
                <a:blip r:embed="rId14"/>
                <a:stretch>
                  <a:fillRect b="-40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3" name="Group 72">
            <a:extLst>
              <a:ext uri="{FF2B5EF4-FFF2-40B4-BE49-F238E27FC236}">
                <a16:creationId xmlns:a16="http://schemas.microsoft.com/office/drawing/2014/main" id="{8EB61C2F-15FE-A43A-8809-D79702FCCD6C}"/>
              </a:ext>
            </a:extLst>
          </p:cNvPr>
          <p:cNvGrpSpPr/>
          <p:nvPr/>
        </p:nvGrpSpPr>
        <p:grpSpPr>
          <a:xfrm>
            <a:off x="7022250" y="4777805"/>
            <a:ext cx="3719111" cy="1736254"/>
            <a:chOff x="6914166" y="4600005"/>
            <a:chExt cx="3719111" cy="1736254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6997B8D6-2032-D0E3-01B1-5867D0B12032}"/>
                </a:ext>
              </a:extLst>
            </p:cNvPr>
            <p:cNvSpPr/>
            <p:nvPr/>
          </p:nvSpPr>
          <p:spPr>
            <a:xfrm>
              <a:off x="7339652" y="4846520"/>
              <a:ext cx="1302088" cy="1302088"/>
            </a:xfrm>
            <a:prstGeom prst="ellipse">
              <a:avLst/>
            </a:prstGeom>
            <a:solidFill>
              <a:srgbClr val="009D6D"/>
            </a:solidFill>
            <a:ln>
              <a:solidFill>
                <a:srgbClr val="009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1224534-70ED-38F7-2C2D-33A05D0CF1C6}"/>
                </a:ext>
              </a:extLst>
            </p:cNvPr>
            <p:cNvSpPr txBox="1"/>
            <p:nvPr/>
          </p:nvSpPr>
          <p:spPr>
            <a:xfrm>
              <a:off x="6914166" y="4641841"/>
              <a:ext cx="2029063" cy="19778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de-DE" sz="1050" dirty="0">
                  <a:latin typeface="Trebuchet MS" panose="020B0603020202020204" pitchFamily="34" charset="0"/>
                </a:rPr>
                <a:t>Pool </a:t>
              </a:r>
              <a:r>
                <a:rPr lang="de-DE" sz="1050" dirty="0" err="1">
                  <a:latin typeface="Trebuchet MS" panose="020B0603020202020204" pitchFamily="34" charset="0"/>
                </a:rPr>
                <a:t>of</a:t>
              </a:r>
              <a:r>
                <a:rPr lang="de-DE" sz="1050" dirty="0">
                  <a:latin typeface="Trebuchet MS" panose="020B0603020202020204" pitchFamily="34" charset="0"/>
                </a:rPr>
                <a:t> </a:t>
              </a:r>
              <a:r>
                <a:rPr lang="de-DE" sz="1050" i="1" dirty="0" err="1">
                  <a:latin typeface="Trebuchet MS" panose="020B0603020202020204" pitchFamily="34" charset="0"/>
                </a:rPr>
                <a:t>qualified</a:t>
              </a:r>
              <a:r>
                <a:rPr lang="de-DE" sz="1050" dirty="0">
                  <a:latin typeface="Trebuchet MS" panose="020B0603020202020204" pitchFamily="34" charset="0"/>
                </a:rPr>
                <a:t> </a:t>
              </a:r>
              <a:r>
                <a:rPr lang="de-DE" sz="1050" dirty="0" err="1">
                  <a:latin typeface="Trebuchet MS" panose="020B0603020202020204" pitchFamily="34" charset="0"/>
                </a:rPr>
                <a:t>applicants</a:t>
              </a:r>
              <a:endParaRPr lang="en-US" sz="1050" dirty="0">
                <a:latin typeface="Trebuchet MS" panose="020B0603020202020204" pitchFamily="34" charset="0"/>
              </a:endParaRPr>
            </a:p>
          </p:txBody>
        </p:sp>
        <p:pic>
          <p:nvPicPr>
            <p:cNvPr id="55" name="Graphic 54" descr="Checkmark with solid fill">
              <a:extLst>
                <a:ext uri="{FF2B5EF4-FFF2-40B4-BE49-F238E27FC236}">
                  <a16:creationId xmlns:a16="http://schemas.microsoft.com/office/drawing/2014/main" id="{A1808449-3B72-AC0F-F32F-4F5E81525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704894" y="5211762"/>
              <a:ext cx="571604" cy="571604"/>
            </a:xfrm>
            <a:prstGeom prst="rect">
              <a:avLst/>
            </a:prstGeom>
          </p:spPr>
        </p:pic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DE4BB620-DE26-B6AD-8B51-B6C32DB3D11A}"/>
                </a:ext>
              </a:extLst>
            </p:cNvPr>
            <p:cNvCxnSpPr>
              <a:cxnSpLocks/>
            </p:cNvCxnSpPr>
            <p:nvPr/>
          </p:nvCxnSpPr>
          <p:spPr>
            <a:xfrm>
              <a:off x="8750155" y="5443980"/>
              <a:ext cx="482488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80B8F08-235F-2723-805D-60333348742C}"/>
                </a:ext>
              </a:extLst>
            </p:cNvPr>
            <p:cNvGrpSpPr/>
            <p:nvPr/>
          </p:nvGrpSpPr>
          <p:grpSpPr>
            <a:xfrm>
              <a:off x="9227597" y="5399140"/>
              <a:ext cx="1405679" cy="937119"/>
              <a:chOff x="4051113" y="2212978"/>
              <a:chExt cx="1554562" cy="1036375"/>
            </a:xfrm>
          </p:grpSpPr>
          <p:graphicFrame>
            <p:nvGraphicFramePr>
              <p:cNvPr id="58" name="Chart 57">
                <a:extLst>
                  <a:ext uri="{FF2B5EF4-FFF2-40B4-BE49-F238E27FC236}">
                    <a16:creationId xmlns:a16="http://schemas.microsoft.com/office/drawing/2014/main" id="{C2EAD623-45E6-0AC5-DEC3-8594556AFA5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400254826"/>
                  </p:ext>
                </p:extLst>
              </p:nvPr>
            </p:nvGraphicFramePr>
            <p:xfrm>
              <a:off x="4051113" y="2212978"/>
              <a:ext cx="1554562" cy="103637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7"/>
              </a:graphicData>
            </a:graphic>
          </p:graphicFrame>
          <p:pic>
            <p:nvPicPr>
              <p:cNvPr id="59" name="Graphic 58">
                <a:extLst>
                  <a:ext uri="{FF2B5EF4-FFF2-40B4-BE49-F238E27FC236}">
                    <a16:creationId xmlns:a16="http://schemas.microsoft.com/office/drawing/2014/main" id="{5A21B96E-90D3-D839-CA40-494A963B62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rcRect/>
              <a:stretch/>
            </p:blipFill>
            <p:spPr>
              <a:xfrm>
                <a:off x="4866601" y="2485879"/>
                <a:ext cx="217847" cy="217847"/>
              </a:xfrm>
              <a:prstGeom prst="rect">
                <a:avLst/>
              </a:prstGeom>
            </p:spPr>
          </p:pic>
          <p:pic>
            <p:nvPicPr>
              <p:cNvPr id="60" name="Graphic 59">
                <a:extLst>
                  <a:ext uri="{FF2B5EF4-FFF2-40B4-BE49-F238E27FC236}">
                    <a16:creationId xmlns:a16="http://schemas.microsoft.com/office/drawing/2014/main" id="{AC47BF02-50A7-1F58-84CA-2AB4323317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4645427" y="2757372"/>
                <a:ext cx="217847" cy="217847"/>
              </a:xfrm>
              <a:prstGeom prst="rect">
                <a:avLst/>
              </a:prstGeom>
            </p:spPr>
          </p:pic>
        </p:grp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A6361B9C-12C4-AAA2-1037-47D9C185C40C}"/>
                </a:ext>
              </a:extLst>
            </p:cNvPr>
            <p:cNvCxnSpPr>
              <a:cxnSpLocks/>
            </p:cNvCxnSpPr>
            <p:nvPr/>
          </p:nvCxnSpPr>
          <p:spPr>
            <a:xfrm>
              <a:off x="8748025" y="5445639"/>
              <a:ext cx="482488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964830F-7D22-F8F4-9D68-C48733614A76}"/>
                </a:ext>
              </a:extLst>
            </p:cNvPr>
            <p:cNvGrpSpPr/>
            <p:nvPr/>
          </p:nvGrpSpPr>
          <p:grpSpPr>
            <a:xfrm>
              <a:off x="9227598" y="4659700"/>
              <a:ext cx="1405679" cy="937119"/>
              <a:chOff x="4051113" y="2212978"/>
              <a:chExt cx="1554562" cy="1036375"/>
            </a:xfrm>
          </p:grpSpPr>
          <p:graphicFrame>
            <p:nvGraphicFramePr>
              <p:cNvPr id="63" name="Chart 62">
                <a:extLst>
                  <a:ext uri="{FF2B5EF4-FFF2-40B4-BE49-F238E27FC236}">
                    <a16:creationId xmlns:a16="http://schemas.microsoft.com/office/drawing/2014/main" id="{094DB383-D29C-D1C6-18DC-2D48DD5B7E5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027263723"/>
                  </p:ext>
                </p:extLst>
              </p:nvPr>
            </p:nvGraphicFramePr>
            <p:xfrm>
              <a:off x="4051113" y="2212978"/>
              <a:ext cx="1554562" cy="103637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0"/>
              </a:graphicData>
            </a:graphic>
          </p:graphicFrame>
          <p:pic>
            <p:nvPicPr>
              <p:cNvPr id="64" name="Graphic 63">
                <a:extLst>
                  <a:ext uri="{FF2B5EF4-FFF2-40B4-BE49-F238E27FC236}">
                    <a16:creationId xmlns:a16="http://schemas.microsoft.com/office/drawing/2014/main" id="{9EC0C9D0-D9E4-2EFE-5056-4EBA39A7F0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rcRect/>
              <a:stretch/>
            </p:blipFill>
            <p:spPr>
              <a:xfrm>
                <a:off x="4866601" y="2485879"/>
                <a:ext cx="217847" cy="217847"/>
              </a:xfrm>
              <a:prstGeom prst="rect">
                <a:avLst/>
              </a:prstGeom>
            </p:spPr>
          </p:pic>
          <p:pic>
            <p:nvPicPr>
              <p:cNvPr id="65" name="Graphic 64">
                <a:extLst>
                  <a:ext uri="{FF2B5EF4-FFF2-40B4-BE49-F238E27FC236}">
                    <a16:creationId xmlns:a16="http://schemas.microsoft.com/office/drawing/2014/main" id="{71B724CF-2786-35EE-49D0-7BBD94EDB6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4645427" y="2757372"/>
                <a:ext cx="217847" cy="217847"/>
              </a:xfrm>
              <a:prstGeom prst="rect">
                <a:avLst/>
              </a:prstGeom>
            </p:spPr>
          </p:pic>
        </p:grpSp>
        <p:pic>
          <p:nvPicPr>
            <p:cNvPr id="66" name="Grafik 10" descr="Frau mit einfarbiger Füllung">
              <a:extLst>
                <a:ext uri="{FF2B5EF4-FFF2-40B4-BE49-F238E27FC236}">
                  <a16:creationId xmlns:a16="http://schemas.microsoft.com/office/drawing/2014/main" id="{4F265658-A6A6-4E5D-2888-1DE8437F2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1507" y="4846433"/>
              <a:ext cx="534368" cy="534368"/>
            </a:xfrm>
            <a:prstGeom prst="rect">
              <a:avLst/>
            </a:prstGeom>
          </p:spPr>
        </p:pic>
        <p:pic>
          <p:nvPicPr>
            <p:cNvPr id="67" name="Grafik 12" descr="Mann mit einfarbiger Füllung">
              <a:extLst>
                <a:ext uri="{FF2B5EF4-FFF2-40B4-BE49-F238E27FC236}">
                  <a16:creationId xmlns:a16="http://schemas.microsoft.com/office/drawing/2014/main" id="{C3175727-7573-6FB1-218D-6BE00974D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131508" y="5585873"/>
              <a:ext cx="534368" cy="534368"/>
            </a:xfrm>
            <a:prstGeom prst="rect">
              <a:avLst/>
            </a:prstGeom>
          </p:spPr>
        </p:pic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5BE661D1-6A5C-15B0-89A2-50489ADF3A02}"/>
                </a:ext>
              </a:extLst>
            </p:cNvPr>
            <p:cNvSpPr/>
            <p:nvPr/>
          </p:nvSpPr>
          <p:spPr>
            <a:xfrm>
              <a:off x="7008842" y="4600005"/>
              <a:ext cx="3355032" cy="1686768"/>
            </a:xfrm>
            <a:prstGeom prst="rect">
              <a:avLst/>
            </a:prstGeom>
            <a:noFill/>
            <a:ln w="38100" cap="flat" cmpd="sng" algn="ctr">
              <a:solidFill>
                <a:srgbClr val="D9D9D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/>
              <a:endParaRPr lang="en-US" kern="0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sp>
        <p:nvSpPr>
          <p:cNvPr id="76" name="Footer Placeholder 75">
            <a:extLst>
              <a:ext uri="{FF2B5EF4-FFF2-40B4-BE49-F238E27FC236}">
                <a16:creationId xmlns:a16="http://schemas.microsoft.com/office/drawing/2014/main" id="{C86359E4-376D-4372-76BC-D226B2F488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91226D6B-7882-6C10-08CF-9C2B34F4DB6C}"/>
                  </a:ext>
                </a:extLst>
              </p:cNvPr>
              <p:cNvSpPr txBox="1"/>
              <p:nvPr/>
            </p:nvSpPr>
            <p:spPr>
              <a:xfrm>
                <a:off x="4857580" y="2817270"/>
                <a:ext cx="1880856" cy="6732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1" i="1" smtClean="0">
                          <a:latin typeface="Cambria Math" panose="02040503050406030204" pitchFamily="18" charset="0"/>
                        </a:rPr>
                        <m:t>𝑹𝒆𝒄𝒂𝒍𝒍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𝑇𝑃</m:t>
                              </m:r>
                            </m:e>
                          </m:nary>
                        </m:num>
                        <m:den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𝑇𝑃</m:t>
                              </m:r>
                            </m:e>
                          </m:nary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</m:den>
                      </m:f>
                    </m:oMath>
                  </m:oMathPara>
                </a14:m>
                <a:endParaRPr lang="en-US" sz="1200" dirty="0">
                  <a:latin typeface="Trebuchet MS" panose="020B0603020202020204" pitchFamily="34" charset="0"/>
                </a:endParaRPr>
              </a:p>
            </p:txBody>
          </p:sp>
        </mc:Choice>
        <mc:Fallback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91226D6B-7882-6C10-08CF-9C2B34F4DB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7580" y="2817270"/>
                <a:ext cx="1880856" cy="673261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FB18A138-69FC-B4A7-9DEC-0511FF158584}"/>
                  </a:ext>
                </a:extLst>
              </p:cNvPr>
              <p:cNvSpPr txBox="1"/>
              <p:nvPr/>
            </p:nvSpPr>
            <p:spPr>
              <a:xfrm>
                <a:off x="8623300" y="1751192"/>
                <a:ext cx="1880856" cy="6732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1" i="1" smtClean="0">
                          <a:latin typeface="Cambria Math" panose="02040503050406030204" pitchFamily="18" charset="0"/>
                        </a:rPr>
                        <m:t>𝑷𝒓𝒆𝒄𝒊𝒔𝒊𝒐𝒏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𝑇𝑃</m:t>
                              </m:r>
                            </m:e>
                          </m:nary>
                        </m:num>
                        <m:den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𝑇𝑃</m:t>
                              </m:r>
                            </m:e>
                          </m:nary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</m:den>
                      </m:f>
                    </m:oMath>
                  </m:oMathPara>
                </a14:m>
                <a:endParaRPr lang="en-US" sz="1200" dirty="0">
                  <a:latin typeface="Trebuchet MS" panose="020B0603020202020204" pitchFamily="34" charset="0"/>
                </a:endParaRPr>
              </a:p>
            </p:txBody>
          </p:sp>
        </mc:Choice>
        <mc:Fallback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FB18A138-69FC-B4A7-9DEC-0511FF1585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23300" y="1751192"/>
                <a:ext cx="1880856" cy="673261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B9581AFF-5F33-12C5-0F38-B15811FE1842}"/>
                  </a:ext>
                </a:extLst>
              </p:cNvPr>
              <p:cNvSpPr txBox="1"/>
              <p:nvPr/>
            </p:nvSpPr>
            <p:spPr>
              <a:xfrm>
                <a:off x="572476" y="1989456"/>
                <a:ext cx="2609653" cy="6732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1" i="1" smtClean="0">
                          <a:latin typeface="Cambria Math" panose="02040503050406030204" pitchFamily="18" charset="0"/>
                        </a:rPr>
                        <m:t>𝑨𝒄𝒄𝒖𝒓𝒂𝒄𝒚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𝑇𝑃</m:t>
                              </m:r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𝑇𝑁</m:t>
                              </m:r>
                            </m:e>
                          </m:nary>
                        </m:num>
                        <m:den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𝑇𝑃</m:t>
                              </m:r>
                            </m:e>
                          </m:nary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𝑇𝑁</m:t>
                          </m:r>
                        </m:den>
                      </m:f>
                    </m:oMath>
                  </m:oMathPara>
                </a14:m>
                <a:endParaRPr lang="en-US" sz="1200" dirty="0">
                  <a:latin typeface="Trebuchet MS" panose="020B0603020202020204" pitchFamily="34" charset="0"/>
                </a:endParaRPr>
              </a:p>
            </p:txBody>
          </p:sp>
        </mc:Choice>
        <mc:Fallback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B9581AFF-5F33-12C5-0F38-B15811FE18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476" y="1989456"/>
                <a:ext cx="2609653" cy="673261"/>
              </a:xfrm>
              <a:prstGeom prst="rect">
                <a:avLst/>
              </a:prstGeom>
              <a:blipFill>
                <a:blip r:embed="rId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A416936C-43AA-DD56-D76E-350A24C57F44}"/>
                  </a:ext>
                </a:extLst>
              </p:cNvPr>
              <p:cNvSpPr txBox="1"/>
              <p:nvPr/>
            </p:nvSpPr>
            <p:spPr>
              <a:xfrm>
                <a:off x="8623301" y="2805247"/>
                <a:ext cx="3149599" cy="6973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2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200" b="1" i="1" smtClean="0">
                              <a:latin typeface="Cambria Math" panose="02040503050406030204" pitchFamily="18" charset="0"/>
                            </a:rPr>
                            <m:t>𝑭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𝜷</m:t>
                          </m:r>
                        </m:sub>
                      </m:sSub>
                      <m:r>
                        <a:rPr lang="de-DE" sz="12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sz="12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𝒄𝒐𝒓𝒆</m:t>
                      </m:r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sSup>
                                <m:sSupPr>
                                  <m:ctrlPr>
                                    <a:rPr lang="de-DE" sz="1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𝛽</m:t>
                                  </m:r>
                                </m:e>
                                <m:sup>
                                  <m:r>
                                    <a:rPr lang="de-DE" sz="1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𝑟𝑒𝑐𝑖𝑠𝑖𝑜𝑛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𝑒𝑐𝑎𝑙𝑙</m:t>
                          </m:r>
                        </m:num>
                        <m:den>
                          <m:sSup>
                            <m:sSupPr>
                              <m:ctrlPr>
                                <a:rPr lang="de-DE" sz="1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de-DE" sz="1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p>
                              <m:r>
                                <a:rPr lang="de-DE" sz="1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𝑟𝑒𝑐𝑖𝑠𝑖𝑜𝑛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+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𝑒𝑐𝑎𝑙𝑙</m:t>
                          </m:r>
                        </m:den>
                      </m:f>
                    </m:oMath>
                  </m:oMathPara>
                </a14:m>
                <a:endParaRPr lang="en-US" sz="1200" dirty="0">
                  <a:latin typeface="Trebuchet MS" panose="020B0603020202020204" pitchFamily="34" charset="0"/>
                </a:endParaRPr>
              </a:p>
            </p:txBody>
          </p:sp>
        </mc:Choice>
        <mc:Fallback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A416936C-43AA-DD56-D76E-350A24C57F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23301" y="2805247"/>
                <a:ext cx="3149599" cy="697307"/>
              </a:xfrm>
              <a:prstGeom prst="rect">
                <a:avLst/>
              </a:prstGeom>
              <a:blipFill>
                <a:blip r:embed="rId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91919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/>
      <p:bldP spid="51" grpId="0" animBg="1"/>
      <p:bldP spid="52" grpId="0"/>
      <p:bldP spid="78" grpId="0"/>
      <p:bldP spid="79" grpId="0"/>
      <p:bldP spid="80" grpId="0"/>
      <p:bldP spid="8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290B0-5CE5-7ED5-AD17-3CC3E1514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7959718" cy="638175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How do we choose the right </a:t>
            </a:r>
            <a:r>
              <a:rPr lang="en-US"/>
              <a:t>formalized fairness </a:t>
            </a:r>
            <a:r>
              <a:rPr lang="en-US" dirty="0"/>
              <a:t>metric</a:t>
            </a:r>
            <a:r>
              <a:rPr lang="en-US"/>
              <a:t>?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81184D-B277-374E-8D4D-55FFDB1F5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F1B09-F25D-4E97-A2A9-02FCAB862BC4}" type="datetime1">
              <a:rPr lang="de-DE" smtClean="0"/>
              <a:t>14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2BB85E-6149-FA7F-BD90-4A2BFE1E0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6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4A5195D-63BB-7939-9F5D-01336BABA31C}"/>
              </a:ext>
            </a:extLst>
          </p:cNvPr>
          <p:cNvGrpSpPr/>
          <p:nvPr/>
        </p:nvGrpSpPr>
        <p:grpSpPr>
          <a:xfrm>
            <a:off x="9548447" y="2770064"/>
            <a:ext cx="1553603" cy="1035735"/>
            <a:chOff x="4051113" y="2212978"/>
            <a:chExt cx="1554562" cy="1036375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DAC79130-94CF-915E-8AF1-AD2C6231EF56}"/>
                </a:ext>
              </a:extLst>
            </p:cNvPr>
            <p:cNvGraphicFramePr/>
            <p:nvPr/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301CEA53-7744-2603-0279-3E0F7D6E57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866601" y="2485879"/>
              <a:ext cx="217847" cy="217847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E555C35B-2394-7F98-EACC-1E6EC21F13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645427" y="2757372"/>
              <a:ext cx="217847" cy="217847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4DC4979-BD61-C15B-86FF-D70E9822D69E}"/>
              </a:ext>
            </a:extLst>
          </p:cNvPr>
          <p:cNvGrpSpPr/>
          <p:nvPr/>
        </p:nvGrpSpPr>
        <p:grpSpPr>
          <a:xfrm>
            <a:off x="6723635" y="1982232"/>
            <a:ext cx="2242589" cy="1356740"/>
            <a:chOff x="1731373" y="2162083"/>
            <a:chExt cx="2243973" cy="135757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593DB2D-FBFB-B673-BFCA-6D2C84660D8A}"/>
                </a:ext>
              </a:extLst>
            </p:cNvPr>
            <p:cNvGrpSpPr/>
            <p:nvPr/>
          </p:nvGrpSpPr>
          <p:grpSpPr>
            <a:xfrm>
              <a:off x="2338869" y="2782426"/>
              <a:ext cx="1107949" cy="737234"/>
              <a:chOff x="2202561" y="2062691"/>
              <a:chExt cx="1107949" cy="737234"/>
            </a:xfrm>
          </p:grpSpPr>
          <p:pic>
            <p:nvPicPr>
              <p:cNvPr id="15" name="Graphic 14">
                <a:extLst>
                  <a:ext uri="{FF2B5EF4-FFF2-40B4-BE49-F238E27FC236}">
                    <a16:creationId xmlns:a16="http://schemas.microsoft.com/office/drawing/2014/main" id="{A053BBC9-9407-0F7C-EC36-81006EED9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834302" y="2062691"/>
                <a:ext cx="476208" cy="476208"/>
              </a:xfrm>
              <a:prstGeom prst="rect">
                <a:avLst/>
              </a:prstGeom>
            </p:spPr>
          </p:pic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E7F748F4-700F-90DA-1853-79CF1CEEB5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2202561" y="2323717"/>
                <a:ext cx="476208" cy="476208"/>
              </a:xfrm>
              <a:prstGeom prst="rect">
                <a:avLst/>
              </a:prstGeom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E84E9A2-47EF-8746-5056-2006F5412976}"/>
                </a:ext>
              </a:extLst>
            </p:cNvPr>
            <p:cNvSpPr txBox="1"/>
            <p:nvPr/>
          </p:nvSpPr>
          <p:spPr>
            <a:xfrm>
              <a:off x="1731373" y="2162083"/>
              <a:ext cx="2243973" cy="21873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 defTabSz="609205"/>
              <a:r>
                <a:rPr lang="de-DE" sz="1400">
                  <a:solidFill>
                    <a:prstClr val="black"/>
                  </a:solidFill>
                  <a:latin typeface="Trebuchet MS" panose="020B0603020202020204" pitchFamily="34" charset="0"/>
                </a:rPr>
                <a:t>Pool </a:t>
              </a:r>
              <a:r>
                <a:rPr lang="de-DE" sz="140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of</a:t>
              </a:r>
              <a:r>
                <a:rPr lang="de-DE" sz="1400">
                  <a:solidFill>
                    <a:prstClr val="black"/>
                  </a:solidFill>
                  <a:latin typeface="Trebuchet MS" panose="020B0603020202020204" pitchFamily="34" charset="0"/>
                </a:rPr>
                <a:t> </a:t>
              </a:r>
              <a:r>
                <a:rPr lang="de-DE" sz="140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qualified</a:t>
              </a:r>
              <a:r>
                <a:rPr lang="de-DE" sz="1400">
                  <a:solidFill>
                    <a:prstClr val="black"/>
                  </a:solidFill>
                  <a:latin typeface="Trebuchet MS" panose="020B0603020202020204" pitchFamily="34" charset="0"/>
                </a:rPr>
                <a:t> </a:t>
              </a:r>
              <a:r>
                <a:rPr lang="de-DE" sz="140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applicants</a:t>
              </a:r>
              <a:endParaRPr lang="en-US" sz="140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</p:grp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3203411-1243-86C7-A23B-891A8BAB53CD}"/>
              </a:ext>
            </a:extLst>
          </p:cNvPr>
          <p:cNvCxnSpPr>
            <a:cxnSpLocks/>
          </p:cNvCxnSpPr>
          <p:nvPr/>
        </p:nvCxnSpPr>
        <p:spPr>
          <a:xfrm>
            <a:off x="8699592" y="2958376"/>
            <a:ext cx="53326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A93F29E-7084-B0F3-46B8-C58204356E10}"/>
              </a:ext>
            </a:extLst>
          </p:cNvPr>
          <p:cNvGrpSpPr/>
          <p:nvPr/>
        </p:nvGrpSpPr>
        <p:grpSpPr>
          <a:xfrm>
            <a:off x="9548448" y="1972200"/>
            <a:ext cx="1553603" cy="1035735"/>
            <a:chOff x="4051113" y="2212978"/>
            <a:chExt cx="1554562" cy="1036375"/>
          </a:xfrm>
        </p:grpSpPr>
        <p:graphicFrame>
          <p:nvGraphicFramePr>
            <p:cNvPr id="19" name="Chart 18">
              <a:extLst>
                <a:ext uri="{FF2B5EF4-FFF2-40B4-BE49-F238E27FC236}">
                  <a16:creationId xmlns:a16="http://schemas.microsoft.com/office/drawing/2014/main" id="{48A373C0-2048-E1A3-58B9-DAD3DEFC16BA}"/>
                </a:ext>
              </a:extLst>
            </p:cNvPr>
            <p:cNvGraphicFramePr/>
            <p:nvPr/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20782D0-E6B0-31A9-34A8-512E939A06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866601" y="2485879"/>
              <a:ext cx="217847" cy="217847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58C6624E-14C8-A9C9-8CB9-9C3521CA80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645427" y="2757372"/>
              <a:ext cx="217847" cy="217847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E11CF87-0200-1D1B-834F-A3D6BA5FB911}"/>
              </a:ext>
            </a:extLst>
          </p:cNvPr>
          <p:cNvGrpSpPr/>
          <p:nvPr/>
        </p:nvGrpSpPr>
        <p:grpSpPr>
          <a:xfrm>
            <a:off x="7071406" y="2238821"/>
            <a:ext cx="1439112" cy="1439112"/>
            <a:chOff x="5304006" y="1633293"/>
            <a:chExt cx="1080000" cy="1080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475D04B-E8A4-F918-F49E-667196889895}"/>
                </a:ext>
              </a:extLst>
            </p:cNvPr>
            <p:cNvSpPr/>
            <p:nvPr/>
          </p:nvSpPr>
          <p:spPr>
            <a:xfrm>
              <a:off x="5304006" y="1633293"/>
              <a:ext cx="1080000" cy="1080000"/>
            </a:xfrm>
            <a:prstGeom prst="ellipse">
              <a:avLst/>
            </a:prstGeom>
            <a:solidFill>
              <a:srgbClr val="009D6D"/>
            </a:solidFill>
            <a:ln>
              <a:solidFill>
                <a:srgbClr val="009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84" tIns="45693" rIns="91384" bIns="456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205"/>
              <a:endParaRPr lang="en-US" sz="1798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24" name="Graphic 23" descr="Checkmark with solid fill">
              <a:extLst>
                <a:ext uri="{FF2B5EF4-FFF2-40B4-BE49-F238E27FC236}">
                  <a16:creationId xmlns:a16="http://schemas.microsoft.com/office/drawing/2014/main" id="{757CAC61-25E5-9F8A-3FE7-4E987D952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606952" y="1936239"/>
              <a:ext cx="474109" cy="474109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7B5BE445-DB08-786C-F950-A63A2C6DBD67}"/>
              </a:ext>
            </a:extLst>
          </p:cNvPr>
          <p:cNvSpPr txBox="1"/>
          <p:nvPr/>
        </p:nvSpPr>
        <p:spPr>
          <a:xfrm>
            <a:off x="2427092" y="1458305"/>
            <a:ext cx="1811758" cy="3713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 defTabSz="609205"/>
            <a:r>
              <a:rPr lang="de-DE" sz="1598" b="1" dirty="0">
                <a:solidFill>
                  <a:prstClr val="black"/>
                </a:solidFill>
                <a:latin typeface="Trebuchet MS" panose="020B0603020202020204" pitchFamily="34" charset="0"/>
              </a:rPr>
              <a:t>Statistical Parity</a:t>
            </a:r>
            <a:endParaRPr lang="en-US" sz="1598" b="1" dirty="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2BE6E2-2567-7543-BA73-66BDB714A084}"/>
              </a:ext>
            </a:extLst>
          </p:cNvPr>
          <p:cNvSpPr txBox="1"/>
          <p:nvPr/>
        </p:nvSpPr>
        <p:spPr>
          <a:xfrm>
            <a:off x="8163444" y="1458305"/>
            <a:ext cx="2063543" cy="3713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 defTabSz="609205"/>
            <a:r>
              <a:rPr lang="de-DE" sz="1598" b="1" err="1">
                <a:solidFill>
                  <a:prstClr val="black"/>
                </a:solidFill>
                <a:latin typeface="Trebuchet MS" panose="020B0603020202020204" pitchFamily="34" charset="0"/>
              </a:rPr>
              <a:t>Equal</a:t>
            </a:r>
            <a:r>
              <a:rPr lang="de-DE" sz="1598" b="1">
                <a:solidFill>
                  <a:prstClr val="black"/>
                </a:solidFill>
                <a:latin typeface="Trebuchet MS" panose="020B0603020202020204" pitchFamily="34" charset="0"/>
              </a:rPr>
              <a:t> </a:t>
            </a:r>
            <a:r>
              <a:rPr lang="de-DE" sz="1598" b="1" err="1">
                <a:solidFill>
                  <a:prstClr val="black"/>
                </a:solidFill>
                <a:latin typeface="Trebuchet MS" panose="020B0603020202020204" pitchFamily="34" charset="0"/>
              </a:rPr>
              <a:t>Opportunity</a:t>
            </a:r>
            <a:endParaRPr lang="en-US" sz="1598" b="1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A4CE9E7-A5BB-21F7-8842-74AD9D4F657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603457" y="4040518"/>
            <a:ext cx="4725531" cy="126326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37D1C33-8C18-F77F-2236-43DFEBC5A44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68444" y="4036022"/>
            <a:ext cx="4725531" cy="1272258"/>
          </a:xfrm>
          <a:prstGeom prst="rect">
            <a:avLst/>
          </a:prstGeom>
        </p:spPr>
      </p:pic>
      <p:pic>
        <p:nvPicPr>
          <p:cNvPr id="29" name="Grafik 10" descr="Frau mit einfarbiger Füllung">
            <a:extLst>
              <a:ext uri="{FF2B5EF4-FFF2-40B4-BE49-F238E27FC236}">
                <a16:creationId xmlns:a16="http://schemas.microsoft.com/office/drawing/2014/main" id="{E1896169-FD6F-4096-D44A-DE273FF8F9B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423212" y="2194766"/>
            <a:ext cx="590602" cy="590602"/>
          </a:xfrm>
          <a:prstGeom prst="rect">
            <a:avLst/>
          </a:prstGeom>
        </p:spPr>
      </p:pic>
      <p:pic>
        <p:nvPicPr>
          <p:cNvPr id="30" name="Grafik 12" descr="Mann mit einfarbiger Füllung">
            <a:extLst>
              <a:ext uri="{FF2B5EF4-FFF2-40B4-BE49-F238E27FC236}">
                <a16:creationId xmlns:a16="http://schemas.microsoft.com/office/drawing/2014/main" id="{965F8D48-9BCA-DA98-5EC1-DF1504FED5C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423212" y="2992629"/>
            <a:ext cx="590602" cy="590602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141952C6-98A9-64AB-93CF-481C530D5A81}"/>
              </a:ext>
            </a:extLst>
          </p:cNvPr>
          <p:cNvGrpSpPr/>
          <p:nvPr/>
        </p:nvGrpSpPr>
        <p:grpSpPr>
          <a:xfrm>
            <a:off x="806162" y="1878412"/>
            <a:ext cx="2775850" cy="1962641"/>
            <a:chOff x="1464578" y="2100839"/>
            <a:chExt cx="2777563" cy="1963848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84A4947-9A00-4A13-7DEA-3D3AF036ED13}"/>
                </a:ext>
              </a:extLst>
            </p:cNvPr>
            <p:cNvGrpSpPr/>
            <p:nvPr/>
          </p:nvGrpSpPr>
          <p:grpSpPr>
            <a:xfrm>
              <a:off x="1464578" y="2212978"/>
              <a:ext cx="2777563" cy="1851709"/>
              <a:chOff x="1328270" y="1493243"/>
              <a:chExt cx="2777563" cy="1851709"/>
            </a:xfrm>
          </p:grpSpPr>
          <p:graphicFrame>
            <p:nvGraphicFramePr>
              <p:cNvPr id="34" name="Chart 33">
                <a:extLst>
                  <a:ext uri="{FF2B5EF4-FFF2-40B4-BE49-F238E27FC236}">
                    <a16:creationId xmlns:a16="http://schemas.microsoft.com/office/drawing/2014/main" id="{A82259A1-1EA1-165B-19DC-026103C6820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762226994"/>
                  </p:ext>
                </p:extLst>
              </p:nvPr>
            </p:nvGraphicFramePr>
            <p:xfrm>
              <a:off x="1328270" y="1493243"/>
              <a:ext cx="2777563" cy="185170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1"/>
              </a:graphicData>
            </a:graphic>
          </p:graphicFrame>
          <p:pic>
            <p:nvPicPr>
              <p:cNvPr id="35" name="Graphic 34">
                <a:extLst>
                  <a:ext uri="{FF2B5EF4-FFF2-40B4-BE49-F238E27FC236}">
                    <a16:creationId xmlns:a16="http://schemas.microsoft.com/office/drawing/2014/main" id="{786D353F-0C39-50F3-EFDE-54B61FA408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rcRect/>
              <a:stretch/>
            </p:blipFill>
            <p:spPr>
              <a:xfrm>
                <a:off x="2834302" y="2062691"/>
                <a:ext cx="476208" cy="476208"/>
              </a:xfrm>
              <a:prstGeom prst="rect">
                <a:avLst/>
              </a:prstGeom>
            </p:spPr>
          </p:pic>
          <p:pic>
            <p:nvPicPr>
              <p:cNvPr id="36" name="Graphic 35">
                <a:extLst>
                  <a:ext uri="{FF2B5EF4-FFF2-40B4-BE49-F238E27FC236}">
                    <a16:creationId xmlns:a16="http://schemas.microsoft.com/office/drawing/2014/main" id="{AE148860-9B14-5AE4-9057-E410EB293E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rcRect/>
              <a:stretch/>
            </p:blipFill>
            <p:spPr>
              <a:xfrm>
                <a:off x="2202561" y="2323718"/>
                <a:ext cx="476208" cy="476208"/>
              </a:xfrm>
              <a:prstGeom prst="rect">
                <a:avLst/>
              </a:prstGeom>
            </p:spPr>
          </p:pic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D87FB08-20B3-A64F-1E8B-67789738030B}"/>
                </a:ext>
              </a:extLst>
            </p:cNvPr>
            <p:cNvSpPr txBox="1"/>
            <p:nvPr/>
          </p:nvSpPr>
          <p:spPr>
            <a:xfrm>
              <a:off x="1998167" y="2100839"/>
              <a:ext cx="1710382" cy="19482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 defTabSz="609205"/>
              <a:r>
                <a:rPr lang="de-DE" sz="1400" dirty="0">
                  <a:solidFill>
                    <a:prstClr val="black"/>
                  </a:solidFill>
                  <a:latin typeface="Trebuchet MS" panose="020B0603020202020204" pitchFamily="34" charset="0"/>
                </a:rPr>
                <a:t>Pool </a:t>
              </a:r>
              <a:r>
                <a:rPr lang="de-DE" sz="1400" dirty="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of</a:t>
              </a:r>
              <a:r>
                <a:rPr lang="de-DE" sz="1400" dirty="0">
                  <a:solidFill>
                    <a:prstClr val="black"/>
                  </a:solidFill>
                  <a:latin typeface="Trebuchet MS" panose="020B0603020202020204" pitchFamily="34" charset="0"/>
                </a:rPr>
                <a:t> </a:t>
              </a:r>
              <a:r>
                <a:rPr lang="de-DE" sz="1400" dirty="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applicants</a:t>
              </a:r>
              <a:endParaRPr lang="en-US" sz="1400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</p:grp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1C18E5F-1A72-EFE7-56F0-A4075F91EE46}"/>
              </a:ext>
            </a:extLst>
          </p:cNvPr>
          <p:cNvCxnSpPr>
            <a:cxnSpLocks/>
          </p:cNvCxnSpPr>
          <p:nvPr/>
        </p:nvCxnSpPr>
        <p:spPr>
          <a:xfrm>
            <a:off x="3048750" y="2940294"/>
            <a:ext cx="53326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3B98795-6369-2408-5D82-B33735097966}"/>
              </a:ext>
            </a:extLst>
          </p:cNvPr>
          <p:cNvGrpSpPr/>
          <p:nvPr/>
        </p:nvGrpSpPr>
        <p:grpSpPr>
          <a:xfrm>
            <a:off x="3897607" y="1954120"/>
            <a:ext cx="1553603" cy="1035735"/>
            <a:chOff x="4051113" y="2212978"/>
            <a:chExt cx="1554562" cy="1036375"/>
          </a:xfrm>
        </p:grpSpPr>
        <p:graphicFrame>
          <p:nvGraphicFramePr>
            <p:cNvPr id="39" name="Chart 38">
              <a:extLst>
                <a:ext uri="{FF2B5EF4-FFF2-40B4-BE49-F238E27FC236}">
                  <a16:creationId xmlns:a16="http://schemas.microsoft.com/office/drawing/2014/main" id="{61F4C8C3-FC01-9AA5-33CC-6F6D1EEE867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576539037"/>
                </p:ext>
              </p:extLst>
            </p:nvPr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6"/>
            </a:graphicData>
          </a:graphic>
        </p:graphicFrame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6D9529E9-A417-DFDF-D896-2BA22ABAF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/>
            <a:stretch/>
          </p:blipFill>
          <p:spPr>
            <a:xfrm>
              <a:off x="4866601" y="2537522"/>
              <a:ext cx="242404" cy="242404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2013D85F-93EF-B4FC-232B-47A2978CFE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/>
            <a:stretch/>
          </p:blipFill>
          <p:spPr>
            <a:xfrm>
              <a:off x="4560761" y="2648147"/>
              <a:ext cx="242405" cy="242405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1FBB8CD-6D9C-3DAB-CDBC-DD3EE8098265}"/>
              </a:ext>
            </a:extLst>
          </p:cNvPr>
          <p:cNvGrpSpPr/>
          <p:nvPr/>
        </p:nvGrpSpPr>
        <p:grpSpPr>
          <a:xfrm>
            <a:off x="3906649" y="2751983"/>
            <a:ext cx="1553603" cy="1035735"/>
            <a:chOff x="4051113" y="2212978"/>
            <a:chExt cx="1554562" cy="1036375"/>
          </a:xfrm>
        </p:grpSpPr>
        <p:graphicFrame>
          <p:nvGraphicFramePr>
            <p:cNvPr id="43" name="Chart 42">
              <a:extLst>
                <a:ext uri="{FF2B5EF4-FFF2-40B4-BE49-F238E27FC236}">
                  <a16:creationId xmlns:a16="http://schemas.microsoft.com/office/drawing/2014/main" id="{48AA01CD-0E88-B730-1081-D5CD6AD2F98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095543413"/>
                </p:ext>
              </p:extLst>
            </p:nvPr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7"/>
            </a:graphicData>
          </a:graphic>
        </p:graphicFrame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4AAD5FFF-3071-BFE0-F588-6DAB6A0305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/>
            <a:stretch/>
          </p:blipFill>
          <p:spPr>
            <a:xfrm>
              <a:off x="4866601" y="2537522"/>
              <a:ext cx="242404" cy="242404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2E2C86D7-BE07-B49D-5D25-67333EA02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/>
            <a:stretch/>
          </p:blipFill>
          <p:spPr>
            <a:xfrm>
              <a:off x="4560761" y="2648147"/>
              <a:ext cx="242405" cy="242405"/>
            </a:xfrm>
            <a:prstGeom prst="rect">
              <a:avLst/>
            </a:prstGeom>
          </p:spPr>
        </p:pic>
      </p:grpSp>
      <p:pic>
        <p:nvPicPr>
          <p:cNvPr id="46" name="Graphic 45">
            <a:extLst>
              <a:ext uri="{FF2B5EF4-FFF2-40B4-BE49-F238E27FC236}">
                <a16:creationId xmlns:a16="http://schemas.microsoft.com/office/drawing/2014/main" id="{512CC6E4-22B2-A5A1-AE48-AA26E9754B5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/>
          <a:stretch/>
        </p:blipFill>
        <p:spPr>
          <a:xfrm>
            <a:off x="3855708" y="2276043"/>
            <a:ext cx="391886" cy="39188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6FF43AC5-D482-E121-D842-998B5A347D6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3875558" y="3093757"/>
            <a:ext cx="352185" cy="352185"/>
          </a:xfrm>
          <a:prstGeom prst="rect">
            <a:avLst/>
          </a:prstGeom>
        </p:spPr>
      </p:pic>
      <p:sp>
        <p:nvSpPr>
          <p:cNvPr id="48" name="Rechteck 4">
            <a:extLst>
              <a:ext uri="{FF2B5EF4-FFF2-40B4-BE49-F238E27FC236}">
                <a16:creationId xmlns:a16="http://schemas.microsoft.com/office/drawing/2014/main" id="{C06A55BB-AE2F-0D50-48B5-86CD5798D8D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909384" y="5507677"/>
            <a:ext cx="8773717" cy="685902"/>
          </a:xfrm>
          <a:prstGeom prst="rect">
            <a:avLst/>
          </a:prstGeom>
          <a:solidFill>
            <a:schemeClr val="bg2"/>
          </a:solidFill>
          <a:ln w="9525" cmpd="sng">
            <a:solidFill>
              <a:srgbClr val="61616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95953" rIns="0" bIns="95953" anchor="b" anchorCtr="0">
            <a:spAutoFit/>
          </a:bodyPr>
          <a:lstStyle/>
          <a:p>
            <a:pPr algn="ctr" defTabSz="914050"/>
            <a:r>
              <a:rPr lang="de-DE" sz="1598" b="1" dirty="0">
                <a:latin typeface="Trebuchet MS" panose="020B0603020202020204" pitchFamily="34" charset="0"/>
              </a:rPr>
              <a:t>Try </a:t>
            </a:r>
            <a:r>
              <a:rPr lang="de-DE" sz="1598" b="1" dirty="0" err="1">
                <a:latin typeface="Trebuchet MS" panose="020B0603020202020204" pitchFamily="34" charset="0"/>
              </a:rPr>
              <a:t>it</a:t>
            </a:r>
            <a:r>
              <a:rPr lang="de-DE" sz="1598" b="1" dirty="0">
                <a:latin typeface="Trebuchet MS" panose="020B0603020202020204" pitchFamily="34" charset="0"/>
              </a:rPr>
              <a:t> out </a:t>
            </a:r>
            <a:r>
              <a:rPr lang="de-DE" sz="1598" b="1" dirty="0" err="1">
                <a:latin typeface="Trebuchet MS" panose="020B0603020202020204" pitchFamily="34" charset="0"/>
              </a:rPr>
              <a:t>yourself</a:t>
            </a:r>
            <a:r>
              <a:rPr lang="de-DE" sz="1598" b="1" dirty="0">
                <a:latin typeface="Trebuchet MS" panose="020B0603020202020204" pitchFamily="34" charset="0"/>
              </a:rPr>
              <a:t>!</a:t>
            </a:r>
          </a:p>
          <a:p>
            <a:pPr algn="ctr" defTabSz="914050"/>
            <a:r>
              <a:rPr lang="en-US" altLang="de-DE" sz="1600" i="1" dirty="0">
                <a:latin typeface="Trebuchet MS" panose="020B0603020202020204" pitchFamily="34" charset="0"/>
                <a:hlinkClick r:id="rId3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esearch.google.com/bigpicture/attacking-discrimination-in-ml/</a:t>
            </a:r>
            <a:endParaRPr lang="en-US" altLang="de-DE" sz="1600" i="1" dirty="0">
              <a:latin typeface="Trebuchet MS" panose="020B0603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C7764F-4262-DF7A-D9FA-CD634928D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it-IT">
                <a:solidFill>
                  <a:srgbClr val="889194"/>
                </a:solidFill>
              </a:rPr>
              <a:t>ABBA | Luca Deck, Valentin Mayer </a:t>
            </a:r>
            <a:endParaRPr lang="en-US"/>
          </a:p>
        </p:txBody>
      </p:sp>
      <p:pic>
        <p:nvPicPr>
          <p:cNvPr id="49" name="Graphic 48" descr="Cursor with solid fill">
            <a:extLst>
              <a:ext uri="{FF2B5EF4-FFF2-40B4-BE49-F238E27FC236}">
                <a16:creationId xmlns:a16="http://schemas.microsoft.com/office/drawing/2014/main" id="{F23C5C0C-ECBE-AFC2-93E3-DB88F5A36E3D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538469" y="5908668"/>
            <a:ext cx="360087" cy="360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528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373C1-D54D-8798-29CB-A757AF4F8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ow to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with </a:t>
            </a:r>
            <a:r>
              <a:rPr lang="de-DE" dirty="0" err="1"/>
              <a:t>fairness</a:t>
            </a:r>
            <a:r>
              <a:rPr lang="de-DE" dirty="0"/>
              <a:t> in AI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928B8-928B-5126-3616-4E00FBCE3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154C9-5FFF-466C-86C6-C958F05CBB10}" type="datetime1">
              <a:rPr lang="de-DE" smtClean="0"/>
              <a:t>14.03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E856F4-B79E-6D60-B3B9-2DB9FAA896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ED2E6A-3EC8-7CC3-55A1-69B915745BB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b="1" dirty="0">
                <a:solidFill>
                  <a:schemeClr val="tx1"/>
                </a:solidFill>
              </a:rPr>
              <a:t>Popular </a:t>
            </a:r>
            <a:r>
              <a:rPr lang="de-DE" sz="1600" b="1" dirty="0" err="1">
                <a:solidFill>
                  <a:schemeClr val="tx1"/>
                </a:solidFill>
              </a:rPr>
              <a:t>literature</a:t>
            </a:r>
            <a:r>
              <a:rPr lang="de-DE" sz="1600" b="1" dirty="0">
                <a:solidFill>
                  <a:schemeClr val="tx1"/>
                </a:solidFill>
              </a:rPr>
              <a:t> &amp; </a:t>
            </a:r>
            <a:r>
              <a:rPr lang="de-DE" sz="1600" b="1" dirty="0" err="1">
                <a:solidFill>
                  <a:schemeClr val="tx1"/>
                </a:solidFill>
              </a:rPr>
              <a:t>movies</a:t>
            </a:r>
            <a:endParaRPr lang="de-DE" sz="1600" b="1" dirty="0">
              <a:solidFill>
                <a:schemeClr val="tx1"/>
              </a:solidFill>
            </a:endParaRPr>
          </a:p>
          <a:p>
            <a:r>
              <a:rPr lang="de-DE" sz="1600" dirty="0">
                <a:solidFill>
                  <a:schemeClr val="tx1"/>
                </a:solidFill>
              </a:rPr>
              <a:t>Cathy O’Neil. </a:t>
            </a:r>
            <a:r>
              <a:rPr lang="de-DE" sz="1600" i="1" dirty="0" err="1">
                <a:solidFill>
                  <a:schemeClr val="tx1"/>
                </a:solidFill>
              </a:rPr>
              <a:t>Weapons</a:t>
            </a:r>
            <a:r>
              <a:rPr lang="de-DE" sz="1600" i="1" dirty="0">
                <a:solidFill>
                  <a:schemeClr val="tx1"/>
                </a:solidFill>
              </a:rPr>
              <a:t> </a:t>
            </a:r>
            <a:r>
              <a:rPr lang="de-DE" sz="1600" i="1" dirty="0" err="1">
                <a:solidFill>
                  <a:schemeClr val="tx1"/>
                </a:solidFill>
              </a:rPr>
              <a:t>of</a:t>
            </a:r>
            <a:r>
              <a:rPr lang="de-DE" sz="1600" i="1" dirty="0">
                <a:solidFill>
                  <a:schemeClr val="tx1"/>
                </a:solidFill>
              </a:rPr>
              <a:t> Math </a:t>
            </a:r>
            <a:r>
              <a:rPr lang="de-DE" sz="1600" i="1" dirty="0" err="1">
                <a:solidFill>
                  <a:schemeClr val="tx1"/>
                </a:solidFill>
              </a:rPr>
              <a:t>Destruction</a:t>
            </a:r>
            <a:r>
              <a:rPr lang="de-DE" sz="1600" dirty="0">
                <a:solidFill>
                  <a:schemeClr val="tx1"/>
                </a:solidFill>
              </a:rPr>
              <a:t>​</a:t>
            </a:r>
          </a:p>
          <a:p>
            <a:r>
              <a:rPr lang="de-DE" sz="1600" dirty="0" err="1">
                <a:solidFill>
                  <a:schemeClr val="tx1"/>
                </a:solidFill>
              </a:rPr>
              <a:t>Shalini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Kantayya</a:t>
            </a:r>
            <a:r>
              <a:rPr lang="de-DE" sz="1600" dirty="0">
                <a:solidFill>
                  <a:schemeClr val="tx1"/>
                </a:solidFill>
              </a:rPr>
              <a:t>. </a:t>
            </a:r>
            <a:r>
              <a:rPr lang="de-DE" sz="1600" i="1" dirty="0" err="1">
                <a:solidFill>
                  <a:schemeClr val="tx1"/>
                </a:solidFill>
              </a:rPr>
              <a:t>Coded</a:t>
            </a:r>
            <a:r>
              <a:rPr lang="de-DE" sz="1600" i="1" dirty="0">
                <a:solidFill>
                  <a:schemeClr val="tx1"/>
                </a:solidFill>
              </a:rPr>
              <a:t> Bias </a:t>
            </a:r>
            <a:r>
              <a:rPr lang="de-DE" sz="1600" dirty="0">
                <a:solidFill>
                  <a:schemeClr val="tx1"/>
                </a:solidFill>
              </a:rPr>
              <a:t>(</a:t>
            </a:r>
            <a:r>
              <a:rPr lang="de-DE" sz="1600" dirty="0" err="1">
                <a:solidFill>
                  <a:schemeClr val="tx1"/>
                </a:solidFill>
              </a:rPr>
              <a:t>available</a:t>
            </a:r>
            <a:r>
              <a:rPr lang="de-DE" sz="1600" dirty="0">
                <a:solidFill>
                  <a:schemeClr val="tx1"/>
                </a:solidFill>
              </a:rPr>
              <a:t> on Netflix)</a:t>
            </a:r>
          </a:p>
          <a:p>
            <a:pPr marL="0" indent="0">
              <a:buNone/>
            </a:pPr>
            <a:endParaRPr lang="de-DE" sz="16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e-DE" sz="1600" b="1" dirty="0">
                <a:solidFill>
                  <a:schemeClr val="tx1"/>
                </a:solidFill>
              </a:rPr>
              <a:t>Interactive material</a:t>
            </a:r>
          </a:p>
          <a:p>
            <a:r>
              <a:rPr lang="en-US" sz="1600" i="1" dirty="0">
                <a:solidFill>
                  <a:schemeClr val="tx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esearch.google.com/bigpicture/attacking-discrimination-in-ml/</a:t>
            </a:r>
            <a:endParaRPr lang="en-US" sz="1600" i="1" dirty="0">
              <a:solidFill>
                <a:schemeClr val="tx1"/>
              </a:solidFill>
            </a:endParaRPr>
          </a:p>
          <a:p>
            <a:r>
              <a:rPr lang="en-US" sz="1600" i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airlearn.org/</a:t>
            </a:r>
            <a:endParaRPr lang="en-US" sz="1600" i="1" dirty="0">
              <a:solidFill>
                <a:schemeClr val="tx1"/>
              </a:solidFill>
            </a:endParaRPr>
          </a:p>
          <a:p>
            <a:endParaRPr lang="en-US" sz="16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tx1"/>
                </a:solidFill>
              </a:rPr>
              <a:t>Academic literature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600" b="0" i="0" u="none" strike="noStrike" dirty="0" err="1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Dwork</a:t>
            </a:r>
            <a:r>
              <a:rPr lang="en-US" sz="1600" b="0" i="0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, Cynthia et al. (2012): </a:t>
            </a:r>
            <a:r>
              <a:rPr lang="en-US" sz="1600" b="0" i="1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Fairness through awareness.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​</a:t>
            </a:r>
            <a:endParaRPr lang="en-US" sz="1600" b="0" i="0" dirty="0"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600" b="0" i="0" u="none" strike="noStrike" dirty="0" err="1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Barocas</a:t>
            </a:r>
            <a:r>
              <a:rPr lang="en-US" sz="1600" b="0" i="0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, Solon, Moritz Hardt, and Arvind Narayanan (2019): </a:t>
            </a:r>
            <a:r>
              <a:rPr lang="en-US" sz="1600" b="0" i="1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Fairness and machine learning</a:t>
            </a:r>
            <a:r>
              <a:rPr lang="en-US" sz="1600" b="0" i="0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. </a:t>
            </a:r>
            <a:r>
              <a:rPr lang="en-US" sz="1600" b="0" i="1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URL: </a:t>
            </a:r>
            <a:r>
              <a:rPr lang="en-US" sz="1600" b="0" i="1" u="sng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fairmlbook.org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​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Trebuchet MS" panose="020B0603020202020204" pitchFamily="34" charset="0"/>
              </a:rPr>
              <a:t>Arif Khan, </a:t>
            </a:r>
            <a:r>
              <a:rPr lang="de-DE" sz="1600" dirty="0" err="1">
                <a:solidFill>
                  <a:schemeClr val="tx1"/>
                </a:solidFill>
                <a:latin typeface="Trebuchet MS" panose="020B0603020202020204" pitchFamily="34" charset="0"/>
              </a:rPr>
              <a:t>Falaah</a:t>
            </a:r>
            <a:r>
              <a:rPr lang="de-DE" sz="1600" dirty="0">
                <a:solidFill>
                  <a:schemeClr val="tx1"/>
                </a:solidFill>
                <a:latin typeface="Trebuchet MS" panose="020B0603020202020204" pitchFamily="34" charset="0"/>
              </a:rPr>
              <a:t>, Manis, Eleni, and </a:t>
            </a:r>
            <a:r>
              <a:rPr lang="de-DE" sz="1600" dirty="0" err="1">
                <a:solidFill>
                  <a:schemeClr val="tx1"/>
                </a:solidFill>
                <a:latin typeface="Trebuchet MS" panose="020B0603020202020204" pitchFamily="34" charset="0"/>
              </a:rPr>
              <a:t>Stoyanovich</a:t>
            </a:r>
            <a:r>
              <a:rPr lang="de-DE" sz="1600" dirty="0">
                <a:solidFill>
                  <a:schemeClr val="tx1"/>
                </a:solidFill>
                <a:latin typeface="Trebuchet MS" panose="020B0603020202020204" pitchFamily="34" charset="0"/>
              </a:rPr>
              <a:t>, Julia (2022):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Towards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Substantive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Conceptions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of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Algorithmic Fairness: Normative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Guidance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from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Equal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Opportunity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Doctrines</a:t>
            </a:r>
            <a:r>
              <a:rPr lang="de-DE" sz="1600" b="0" i="1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	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chemeClr val="tx1"/>
              </a:solidFill>
              <a:effectLst/>
              <a:latin typeface="Trebuchet MS" panose="020B0603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endParaRPr lang="en-US" sz="1600" i="1" dirty="0">
              <a:solidFill>
                <a:schemeClr val="tx1"/>
              </a:solidFill>
            </a:endParaRP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5FC4413-8940-E46F-F739-73C11CC9BA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8C8C8C"/>
                </a:solidFill>
              </a:rPr>
              <a:t>ABBA | Luca Deck, Valentin Mayer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194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4|101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heme/theme1.xml><?xml version="1.0" encoding="utf-8"?>
<a:theme xmlns:a="http://schemas.openxmlformats.org/drawingml/2006/main" name="Universität Hohenheim">
  <a:themeElements>
    <a:clrScheme name="UHOH">
      <a:dk1>
        <a:srgbClr val="000000"/>
      </a:dk1>
      <a:lt1>
        <a:srgbClr val="FFFFFF"/>
      </a:lt1>
      <a:dk2>
        <a:srgbClr val="004080"/>
      </a:dk2>
      <a:lt2>
        <a:srgbClr val="D9D9D9"/>
      </a:lt2>
      <a:accent1>
        <a:srgbClr val="FFF0C8"/>
      </a:accent1>
      <a:accent2>
        <a:srgbClr val="2694FE"/>
      </a:accent2>
      <a:accent3>
        <a:srgbClr val="889194"/>
      </a:accent3>
      <a:accent4>
        <a:srgbClr val="D2E9FF"/>
      </a:accent4>
      <a:accent5>
        <a:srgbClr val="179C7D"/>
      </a:accent5>
      <a:accent6>
        <a:srgbClr val="B10034"/>
      </a:accent6>
      <a:hlink>
        <a:srgbClr val="004080"/>
      </a:hlink>
      <a:folHlink>
        <a:srgbClr val="2694FE"/>
      </a:folHlink>
    </a:clrScheme>
    <a:fontScheme name="fim/fi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85750" indent="-285750" algn="l">
          <a:buFont typeface="Wingdings" panose="05000000000000000000" pitchFamily="2" charset="2"/>
          <a:buChar char="§"/>
          <a:defRPr sz="1400" dirty="0" err="1" smtClean="0">
            <a:solidFill>
              <a:srgbClr val="4B4B4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_16x9_DE.potx" id="{397CB93F-CD6F-44E9-A982-38B5EBB5B552}" vid="{58422DA1-C179-41B8-9398-577C7904E05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IT">
    <a:dk1>
      <a:sysClr val="windowText" lastClr="000000"/>
    </a:dk1>
    <a:lt1>
      <a:sysClr val="window" lastClr="FFFFFF"/>
    </a:lt1>
    <a:dk2>
      <a:srgbClr val="009682"/>
    </a:dk2>
    <a:lt2>
      <a:srgbClr val="D9D9D9"/>
    </a:lt2>
    <a:accent1>
      <a:srgbClr val="009682"/>
    </a:accent1>
    <a:accent2>
      <a:srgbClr val="4664AA"/>
    </a:accent2>
    <a:accent3>
      <a:srgbClr val="D9D9D9"/>
    </a:accent3>
    <a:accent4>
      <a:srgbClr val="4CB5A7"/>
    </a:accent4>
    <a:accent5>
      <a:srgbClr val="7D92C3"/>
    </a:accent5>
    <a:accent6>
      <a:srgbClr val="7FCAC0"/>
    </a:accent6>
    <a:hlink>
      <a:srgbClr val="0000FF"/>
    </a:hlink>
    <a:folHlink>
      <a:srgbClr val="80008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KIT">
    <a:dk1>
      <a:sysClr val="windowText" lastClr="000000"/>
    </a:dk1>
    <a:lt1>
      <a:sysClr val="window" lastClr="FFFFFF"/>
    </a:lt1>
    <a:dk2>
      <a:srgbClr val="009682"/>
    </a:dk2>
    <a:lt2>
      <a:srgbClr val="D9D9D9"/>
    </a:lt2>
    <a:accent1>
      <a:srgbClr val="009682"/>
    </a:accent1>
    <a:accent2>
      <a:srgbClr val="4664AA"/>
    </a:accent2>
    <a:accent3>
      <a:srgbClr val="D9D9D9"/>
    </a:accent3>
    <a:accent4>
      <a:srgbClr val="4CB5A7"/>
    </a:accent4>
    <a:accent5>
      <a:srgbClr val="7D92C3"/>
    </a:accent5>
    <a:accent6>
      <a:srgbClr val="7FCAC0"/>
    </a:accent6>
    <a:hlink>
      <a:srgbClr val="0000FF"/>
    </a:hlink>
    <a:folHlink>
      <a:srgbClr val="80008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KIT">
    <a:dk1>
      <a:sysClr val="windowText" lastClr="000000"/>
    </a:dk1>
    <a:lt1>
      <a:sysClr val="window" lastClr="FFFFFF"/>
    </a:lt1>
    <a:dk2>
      <a:srgbClr val="009682"/>
    </a:dk2>
    <a:lt2>
      <a:srgbClr val="D9D9D9"/>
    </a:lt2>
    <a:accent1>
      <a:srgbClr val="009682"/>
    </a:accent1>
    <a:accent2>
      <a:srgbClr val="4664AA"/>
    </a:accent2>
    <a:accent3>
      <a:srgbClr val="D9D9D9"/>
    </a:accent3>
    <a:accent4>
      <a:srgbClr val="4CB5A7"/>
    </a:accent4>
    <a:accent5>
      <a:srgbClr val="7D92C3"/>
    </a:accent5>
    <a:accent6>
      <a:srgbClr val="7FCAC0"/>
    </a:accent6>
    <a:hlink>
      <a:srgbClr val="0000FF"/>
    </a:hlink>
    <a:folHlink>
      <a:srgbClr val="80008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D40E3B217D0349A9B90888B1661080" ma:contentTypeVersion="18" ma:contentTypeDescription="Ein neues Dokument erstellen." ma:contentTypeScope="" ma:versionID="764b1ad873ccb0f0714832b930aadbaa">
  <xsd:schema xmlns:xsd="http://www.w3.org/2001/XMLSchema" xmlns:xs="http://www.w3.org/2001/XMLSchema" xmlns:p="http://schemas.microsoft.com/office/2006/metadata/properties" xmlns:ns2="82939fe7-fed6-4672-80ba-cc90af4b9bed" xmlns:ns3="faa56796-c7b2-4d3e-b63e-71a1b6748a23" targetNamespace="http://schemas.microsoft.com/office/2006/metadata/properties" ma:root="true" ma:fieldsID="c72cd9002f60bcb8de5f339466d89e5c" ns2:_="" ns3:_="">
    <xsd:import namespace="82939fe7-fed6-4672-80ba-cc90af4b9bed"/>
    <xsd:import namespace="faa56796-c7b2-4d3e-b63e-71a1b6748a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939fe7-fed6-4672-80ba-cc90af4b9b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9e00f353-0966-4817-9458-30baef77fa7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a56796-c7b2-4d3e-b63e-71a1b6748a2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a49ca97-bd99-439f-af16-6493a29938e0}" ma:internalName="TaxCatchAll" ma:showField="CatchAllData" ma:web="faa56796-c7b2-4d3e-b63e-71a1b6748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a56796-c7b2-4d3e-b63e-71a1b6748a23" xsi:nil="true"/>
    <lcf76f155ced4ddcb4097134ff3c332f xmlns="82939fe7-fed6-4672-80ba-cc90af4b9be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AA1AC1C-FEE9-46FF-97E3-2D980C6A013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D6DAB75-6D41-41F3-8CB1-BF6BFB247B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939fe7-fed6-4672-80ba-cc90af4b9bed"/>
    <ds:schemaRef ds:uri="faa56796-c7b2-4d3e-b63e-71a1b6748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1BA62DE-A85D-42F2-9269-7C5BB32494CB}">
  <ds:schemaRefs>
    <ds:schemaRef ds:uri="82939fe7-fed6-4672-80ba-cc90af4b9bed"/>
    <ds:schemaRef ds:uri="faa56796-c7b2-4d3e-b63e-71a1b6748a2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M_Folienmaster_16x9_DE</Template>
  <TotalTime>0</TotalTime>
  <Words>728</Words>
  <Application>Microsoft Office PowerPoint</Application>
  <PresentationFormat>Widescreen</PresentationFormat>
  <Paragraphs>109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mbria Math</vt:lpstr>
      <vt:lpstr>Courier New</vt:lpstr>
      <vt:lpstr>Trebuchet MS</vt:lpstr>
      <vt:lpstr>Wingdings</vt:lpstr>
      <vt:lpstr>Universität Hohenheim</vt:lpstr>
      <vt:lpstr>FairDice: an interactive lecture hall experiment</vt:lpstr>
      <vt:lpstr>All the discussed fairness notions can be found in real applications. And algorithms can implement them.</vt:lpstr>
      <vt:lpstr>If we train ML models on past data without intervention, we will no longer be living in the future, but in the past</vt:lpstr>
      <vt:lpstr>If we embed values in AI, which should it be? Who is to say?</vt:lpstr>
      <vt:lpstr>Classification, confusion matrix, and fairness metrics</vt:lpstr>
      <vt:lpstr>How do we choose the right formalized fairness metric? </vt:lpstr>
      <vt:lpstr>How to get started with fairness in A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eyer-Hollatz, Tim</dc:creator>
  <cp:keywords/>
  <cp:lastModifiedBy>Deck, Luca</cp:lastModifiedBy>
  <cp:revision>18</cp:revision>
  <dcterms:created xsi:type="dcterms:W3CDTF">2022-03-24T08:32:59Z</dcterms:created>
  <dcterms:modified xsi:type="dcterms:W3CDTF">2024-03-14T15:30:1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D40E3B217D0349A9B90888B1661080</vt:lpwstr>
  </property>
  <property fmtid="{D5CDD505-2E9C-101B-9397-08002B2CF9AE}" pid="3" name="MediaServiceImageTags">
    <vt:lpwstr/>
  </property>
</Properties>
</file>